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4" r:id="rId3"/>
  </p:sldMasterIdLst>
  <p:notesMasterIdLst>
    <p:notesMasterId r:id="rId39"/>
  </p:notesMasterIdLst>
  <p:sldIdLst>
    <p:sldId id="268" r:id="rId4"/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72" r:id="rId15"/>
    <p:sldId id="270" r:id="rId16"/>
    <p:sldId id="271" r:id="rId17"/>
    <p:sldId id="274" r:id="rId18"/>
    <p:sldId id="273" r:id="rId19"/>
    <p:sldId id="275" r:id="rId20"/>
    <p:sldId id="276" r:id="rId21"/>
    <p:sldId id="277" r:id="rId22"/>
    <p:sldId id="278" r:id="rId23"/>
    <p:sldId id="279" r:id="rId24"/>
    <p:sldId id="291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66" r:id="rId37"/>
    <p:sldId id="267" r:id="rId38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6687" autoAdjust="0"/>
  </p:normalViewPr>
  <p:slideViewPr>
    <p:cSldViewPr snapToGrid="0" showGuides="1">
      <p:cViewPr varScale="1">
        <p:scale>
          <a:sx n="69" d="100"/>
          <a:sy n="69" d="100"/>
        </p:scale>
        <p:origin x="2501" y="58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469428-3EB0-4A7D-A4C3-105F0435675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 bwMode="auto"/>
      <dgm:t>
        <a:bodyPr/>
        <a:lstStyle/>
        <a:p>
          <a:pPr>
            <a:defRPr/>
          </a:pPr>
          <a:endParaRPr lang="de-DE"/>
        </a:p>
      </dgm:t>
    </dgm:pt>
    <dgm:pt modelId="{763CDE82-0520-4605-8D14-72F9E5AFD0AB}">
      <dgm:prSet phldrT="[Text]"/>
      <dgm:spPr bwMode="auto">
        <a:solidFill>
          <a:srgbClr val="DEC628"/>
        </a:solidFill>
      </dgm:spPr>
      <dgm:t>
        <a:bodyPr/>
        <a:lstStyle/>
        <a:p>
          <a:pPr>
            <a:defRPr/>
          </a:pPr>
          <a:r>
            <a:rPr lang="de-DE" b="1"/>
            <a:t>Individualisiertes und differenziertes Lernen</a:t>
          </a:r>
          <a:endParaRPr lang="de-DE"/>
        </a:p>
      </dgm:t>
    </dgm:pt>
    <dgm:pt modelId="{CA7FD0A2-2989-45BE-AAA7-A013EE4792CC}" type="par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87E78405-EF28-4535-BA3E-FEA6FAFAFEC9}" type="sib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1D0A4298-8FF2-43F4-8D81-8A7A158B07F5}">
      <dgm:prSet phldrT="[Text]"/>
      <dgm:spPr bwMode="auto"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Unterstützung bei Routineaufgaben</a:t>
          </a:r>
          <a:endParaRPr lang="de-DE"/>
        </a:p>
      </dgm:t>
    </dgm:pt>
    <dgm:pt modelId="{4E9A9390-6B94-4C8E-96FD-028E887B13C6}" type="par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92FE0D9-90CD-4782-A987-EE2F298F043B}" type="sib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0C82D2DA-F89C-493B-9397-65997336A7D5}">
      <dgm:prSet phldrT="[Text]"/>
      <dgm:spPr bwMode="auto"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Förderung digitaler Kompetenzen</a:t>
          </a:r>
          <a:endParaRPr lang="de-DE"/>
        </a:p>
      </dgm:t>
    </dgm:pt>
    <dgm:pt modelId="{F7962206-81B0-4FEC-9BF3-208F2F4A6168}" type="par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5B4C363F-A0E5-49CD-8CB4-44DE311633E4}" type="sib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44FA973-CA96-4F50-82A1-6CD343D1D08D}">
      <dgm:prSet phldrT="[Text]"/>
      <dgm:spPr bwMode="auto"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Zugang zu neuen Lernformen</a:t>
          </a:r>
          <a:endParaRPr lang="de-DE"/>
        </a:p>
      </dgm:t>
    </dgm:pt>
    <dgm:pt modelId="{89CC44F2-DF70-434A-9B1C-2EBD0E091AA3}" type="par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A26A5381-137C-47FC-BEA8-BAF405D607E2}" type="sib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4795AB35-2F18-4E0F-B4E1-B2B22647BF0D}" type="pres">
      <dgm:prSet presAssocID="{AB469428-3EB0-4A7D-A4C3-105F04356751}" presName="Name0" presStyleCnt="0">
        <dgm:presLayoutVars>
          <dgm:chMax val="7"/>
          <dgm:chPref val="7"/>
          <dgm:dir/>
        </dgm:presLayoutVars>
      </dgm:prSet>
      <dgm:spPr bwMode="auto"/>
    </dgm:pt>
    <dgm:pt modelId="{B3CDF451-ABCF-43B9-8C2C-729B9B15F099}" type="pres">
      <dgm:prSet presAssocID="{AB469428-3EB0-4A7D-A4C3-105F04356751}" presName="Name1" presStyleCnt="0"/>
      <dgm:spPr bwMode="auto"/>
    </dgm:pt>
    <dgm:pt modelId="{56779EDD-1221-4303-B41F-3E5C384C9BFB}" type="pres">
      <dgm:prSet presAssocID="{AB469428-3EB0-4A7D-A4C3-105F04356751}" presName="cycle" presStyleCnt="0"/>
      <dgm:spPr bwMode="auto"/>
    </dgm:pt>
    <dgm:pt modelId="{B7EEC69E-8022-4A64-A912-F5F8369EF086}" type="pres">
      <dgm:prSet presAssocID="{AB469428-3EB0-4A7D-A4C3-105F04356751}" presName="srcNode" presStyleLbl="node1" presStyleIdx="0" presStyleCnt="4"/>
      <dgm:spPr bwMode="auto"/>
    </dgm:pt>
    <dgm:pt modelId="{0B893AD0-0A1C-4ADF-9718-A14AC0683237}" type="pres">
      <dgm:prSet presAssocID="{AB469428-3EB0-4A7D-A4C3-105F04356751}" presName="conn" presStyleLbl="parChTrans1D2" presStyleIdx="0" presStyleCnt="1"/>
      <dgm:spPr bwMode="auto"/>
    </dgm:pt>
    <dgm:pt modelId="{BE45C8A5-1D26-46FF-A10C-8B82359B90E4}" type="pres">
      <dgm:prSet presAssocID="{AB469428-3EB0-4A7D-A4C3-105F04356751}" presName="extraNode" presStyleLbl="node1" presStyleIdx="0" presStyleCnt="4"/>
      <dgm:spPr bwMode="auto"/>
    </dgm:pt>
    <dgm:pt modelId="{848E226B-ADBB-42EA-A806-5A4B9EDE1566}" type="pres">
      <dgm:prSet presAssocID="{AB469428-3EB0-4A7D-A4C3-105F04356751}" presName="dstNode" presStyleLbl="node1" presStyleIdx="0" presStyleCnt="4"/>
      <dgm:spPr bwMode="auto"/>
    </dgm:pt>
    <dgm:pt modelId="{505B6D5A-154B-4BE6-A3A7-88F7CAAC9756}" type="pres">
      <dgm:prSet presAssocID="{763CDE82-0520-4605-8D14-72F9E5AFD0AB}" presName="text_1" presStyleLbl="node1" presStyleIdx="0" presStyleCnt="4">
        <dgm:presLayoutVars>
          <dgm:bulletEnabled val="1"/>
        </dgm:presLayoutVars>
      </dgm:prSet>
      <dgm:spPr bwMode="auto"/>
    </dgm:pt>
    <dgm:pt modelId="{2A6A0ECB-24FC-48C0-AA20-1AAFA76FAB54}" type="pres">
      <dgm:prSet presAssocID="{763CDE82-0520-4605-8D14-72F9E5AFD0AB}" presName="accent_1" presStyleCnt="0"/>
      <dgm:spPr bwMode="auto"/>
    </dgm:pt>
    <dgm:pt modelId="{E7A6BDE6-E41D-4E3A-9BD8-6D83ACC0BD68}" type="pres">
      <dgm:prSet presAssocID="{763CDE82-0520-4605-8D14-72F9E5AFD0AB}" presName="accentRepeatNode" presStyleLbl="solidFgAcc1" presStyleIdx="0" presStyleCnt="4"/>
      <dgm:spPr bwMode="auto"/>
    </dgm:pt>
    <dgm:pt modelId="{C50AFA46-5CCF-4B41-B1F2-2C82A678FF55}" type="pres">
      <dgm:prSet presAssocID="{1D0A4298-8FF2-43F4-8D81-8A7A158B07F5}" presName="text_2" presStyleLbl="node1" presStyleIdx="1" presStyleCnt="4">
        <dgm:presLayoutVars>
          <dgm:bulletEnabled val="1"/>
        </dgm:presLayoutVars>
      </dgm:prSet>
      <dgm:spPr bwMode="auto"/>
    </dgm:pt>
    <dgm:pt modelId="{04D01961-C3B6-464C-9361-109E04C0E126}" type="pres">
      <dgm:prSet presAssocID="{1D0A4298-8FF2-43F4-8D81-8A7A158B07F5}" presName="accent_2" presStyleCnt="0"/>
      <dgm:spPr bwMode="auto"/>
    </dgm:pt>
    <dgm:pt modelId="{E3FADB66-1A74-4BB3-AC5A-EAE2BF244DFF}" type="pres">
      <dgm:prSet presAssocID="{1D0A4298-8FF2-43F4-8D81-8A7A158B07F5}" presName="accentRepeatNode" presStyleLbl="solidFgAcc1" presStyleIdx="1" presStyleCnt="4"/>
      <dgm:spPr bwMode="auto"/>
    </dgm:pt>
    <dgm:pt modelId="{B193DB50-272A-4D4C-A921-5105FA66BD06}" type="pres">
      <dgm:prSet presAssocID="{0C82D2DA-F89C-493B-9397-65997336A7D5}" presName="text_3" presStyleLbl="node1" presStyleIdx="2" presStyleCnt="4">
        <dgm:presLayoutVars>
          <dgm:bulletEnabled val="1"/>
        </dgm:presLayoutVars>
      </dgm:prSet>
      <dgm:spPr bwMode="auto"/>
    </dgm:pt>
    <dgm:pt modelId="{B1703733-CC5C-434D-94C9-7E45BA2BC244}" type="pres">
      <dgm:prSet presAssocID="{0C82D2DA-F89C-493B-9397-65997336A7D5}" presName="accent_3" presStyleCnt="0"/>
      <dgm:spPr bwMode="auto"/>
    </dgm:pt>
    <dgm:pt modelId="{FC8907A0-78FE-4A60-B009-D6682E021638}" type="pres">
      <dgm:prSet presAssocID="{0C82D2DA-F89C-493B-9397-65997336A7D5}" presName="accentRepeatNode" presStyleLbl="solidFgAcc1" presStyleIdx="2" presStyleCnt="4"/>
      <dgm:spPr bwMode="auto"/>
    </dgm:pt>
    <dgm:pt modelId="{E439456E-D7F8-4CCC-8AAF-509C7B533D01}" type="pres">
      <dgm:prSet presAssocID="{C44FA973-CA96-4F50-82A1-6CD343D1D08D}" presName="text_4" presStyleLbl="node1" presStyleIdx="3" presStyleCnt="4">
        <dgm:presLayoutVars>
          <dgm:bulletEnabled val="1"/>
        </dgm:presLayoutVars>
      </dgm:prSet>
      <dgm:spPr bwMode="auto"/>
    </dgm:pt>
    <dgm:pt modelId="{2442D057-F4FA-44D5-A9C7-A184B33B3C70}" type="pres">
      <dgm:prSet presAssocID="{C44FA973-CA96-4F50-82A1-6CD343D1D08D}" presName="accent_4" presStyleCnt="0"/>
      <dgm:spPr bwMode="auto"/>
    </dgm:pt>
    <dgm:pt modelId="{3A2CD447-01DD-4BFE-87AF-B7378F0F7786}" type="pres">
      <dgm:prSet presAssocID="{C44FA973-CA96-4F50-82A1-6CD343D1D08D}" presName="accentRepeatNode" presStyleLbl="solidFgAcc1" presStyleIdx="3" presStyleCnt="4"/>
      <dgm:spPr bwMode="auto"/>
    </dgm:pt>
  </dgm:ptLst>
  <dgm:cxnLst>
    <dgm:cxn modelId="{FE150E0D-A298-47B0-96AD-B4889721308F}" srcId="{AB469428-3EB0-4A7D-A4C3-105F04356751}" destId="{C44FA973-CA96-4F50-82A1-6CD343D1D08D}" srcOrd="3" destOrd="0" parTransId="{89CC44F2-DF70-434A-9B1C-2EBD0E091AA3}" sibTransId="{A26A5381-137C-47FC-BEA8-BAF405D607E2}"/>
    <dgm:cxn modelId="{FCB86022-F2EE-4B16-BB3C-BC95CB909412}" type="presOf" srcId="{87E78405-EF28-4535-BA3E-FEA6FAFAFEC9}" destId="{0B893AD0-0A1C-4ADF-9718-A14AC0683237}" srcOrd="0" destOrd="0" presId="urn:microsoft.com/office/officeart/2008/layout/VerticalCurvedList"/>
    <dgm:cxn modelId="{8E34B423-14DC-44BD-83C0-1BC4484DA31D}" srcId="{AB469428-3EB0-4A7D-A4C3-105F04356751}" destId="{0C82D2DA-F89C-493B-9397-65997336A7D5}" srcOrd="2" destOrd="0" parTransId="{F7962206-81B0-4FEC-9BF3-208F2F4A6168}" sibTransId="{5B4C363F-A0E5-49CD-8CB4-44DE311633E4}"/>
    <dgm:cxn modelId="{FE2CF023-821F-40F4-B6E2-BBB07DADF0A1}" srcId="{AB469428-3EB0-4A7D-A4C3-105F04356751}" destId="{763CDE82-0520-4605-8D14-72F9E5AFD0AB}" srcOrd="0" destOrd="0" parTransId="{CA7FD0A2-2989-45BE-AAA7-A013EE4792CC}" sibTransId="{87E78405-EF28-4535-BA3E-FEA6FAFAFEC9}"/>
    <dgm:cxn modelId="{A73B8F4F-503E-4376-BEE9-E9D2CABFDBE4}" type="presOf" srcId="{C44FA973-CA96-4F50-82A1-6CD343D1D08D}" destId="{E439456E-D7F8-4CCC-8AAF-509C7B533D01}" srcOrd="0" destOrd="0" presId="urn:microsoft.com/office/officeart/2008/layout/VerticalCurvedList"/>
    <dgm:cxn modelId="{A86CE6B0-553C-4B40-BB2E-54C818F0DC1B}" type="presOf" srcId="{AB469428-3EB0-4A7D-A4C3-105F04356751}" destId="{4795AB35-2F18-4E0F-B4E1-B2B22647BF0D}" srcOrd="0" destOrd="0" presId="urn:microsoft.com/office/officeart/2008/layout/VerticalCurvedList"/>
    <dgm:cxn modelId="{42989DBA-ED67-4681-B11A-070B2208342A}" type="presOf" srcId="{1D0A4298-8FF2-43F4-8D81-8A7A158B07F5}" destId="{C50AFA46-5CCF-4B41-B1F2-2C82A678FF55}" srcOrd="0" destOrd="0" presId="urn:microsoft.com/office/officeart/2008/layout/VerticalCurvedList"/>
    <dgm:cxn modelId="{D57BD4C1-1CDF-4B52-967B-6AED92FEAF83}" type="presOf" srcId="{0C82D2DA-F89C-493B-9397-65997336A7D5}" destId="{B193DB50-272A-4D4C-A921-5105FA66BD06}" srcOrd="0" destOrd="0" presId="urn:microsoft.com/office/officeart/2008/layout/VerticalCurvedList"/>
    <dgm:cxn modelId="{142A41C2-EDA4-4114-A399-04B111950160}" srcId="{AB469428-3EB0-4A7D-A4C3-105F04356751}" destId="{1D0A4298-8FF2-43F4-8D81-8A7A158B07F5}" srcOrd="1" destOrd="0" parTransId="{4E9A9390-6B94-4C8E-96FD-028E887B13C6}" sibTransId="{C92FE0D9-90CD-4782-A987-EE2F298F043B}"/>
    <dgm:cxn modelId="{28B09EC3-01BE-4FD0-B783-495EAABF9E52}" type="presOf" srcId="{763CDE82-0520-4605-8D14-72F9E5AFD0AB}" destId="{505B6D5A-154B-4BE6-A3A7-88F7CAAC9756}" srcOrd="0" destOrd="0" presId="urn:microsoft.com/office/officeart/2008/layout/VerticalCurvedList"/>
    <dgm:cxn modelId="{33985C14-CDE2-4796-83C8-052E2BC58C56}" type="presParOf" srcId="{4795AB35-2F18-4E0F-B4E1-B2B22647BF0D}" destId="{B3CDF451-ABCF-43B9-8C2C-729B9B15F099}" srcOrd="0" destOrd="0" presId="urn:microsoft.com/office/officeart/2008/layout/VerticalCurvedList"/>
    <dgm:cxn modelId="{FA16CF52-4D3C-493B-A711-2E5FE9C8FF9C}" type="presParOf" srcId="{B3CDF451-ABCF-43B9-8C2C-729B9B15F099}" destId="{56779EDD-1221-4303-B41F-3E5C384C9BFB}" srcOrd="0" destOrd="0" presId="urn:microsoft.com/office/officeart/2008/layout/VerticalCurvedList"/>
    <dgm:cxn modelId="{4F84503B-F300-4BA6-9E92-FE22B3C0B413}" type="presParOf" srcId="{56779EDD-1221-4303-B41F-3E5C384C9BFB}" destId="{B7EEC69E-8022-4A64-A912-F5F8369EF086}" srcOrd="0" destOrd="0" presId="urn:microsoft.com/office/officeart/2008/layout/VerticalCurvedList"/>
    <dgm:cxn modelId="{B6469A10-8E9D-4EB3-9B16-87873C34AA63}" type="presParOf" srcId="{56779EDD-1221-4303-B41F-3E5C384C9BFB}" destId="{0B893AD0-0A1C-4ADF-9718-A14AC0683237}" srcOrd="1" destOrd="0" presId="urn:microsoft.com/office/officeart/2008/layout/VerticalCurvedList"/>
    <dgm:cxn modelId="{8490E46C-3C05-4860-9F0C-9E40EE9131AC}" type="presParOf" srcId="{56779EDD-1221-4303-B41F-3E5C384C9BFB}" destId="{BE45C8A5-1D26-46FF-A10C-8B82359B90E4}" srcOrd="2" destOrd="0" presId="urn:microsoft.com/office/officeart/2008/layout/VerticalCurvedList"/>
    <dgm:cxn modelId="{126D8F57-9A2B-4E79-B6B5-CFA7974DE160}" type="presParOf" srcId="{56779EDD-1221-4303-B41F-3E5C384C9BFB}" destId="{848E226B-ADBB-42EA-A806-5A4B9EDE1566}" srcOrd="3" destOrd="0" presId="urn:microsoft.com/office/officeart/2008/layout/VerticalCurvedList"/>
    <dgm:cxn modelId="{D3B781AB-53D2-4F4D-8DBC-C4CAD7D9E54E}" type="presParOf" srcId="{B3CDF451-ABCF-43B9-8C2C-729B9B15F099}" destId="{505B6D5A-154B-4BE6-A3A7-88F7CAAC9756}" srcOrd="1" destOrd="0" presId="urn:microsoft.com/office/officeart/2008/layout/VerticalCurvedList"/>
    <dgm:cxn modelId="{0DFCA9CF-D350-4199-954B-123D9D262058}" type="presParOf" srcId="{B3CDF451-ABCF-43B9-8C2C-729B9B15F099}" destId="{2A6A0ECB-24FC-48C0-AA20-1AAFA76FAB54}" srcOrd="2" destOrd="0" presId="urn:microsoft.com/office/officeart/2008/layout/VerticalCurvedList"/>
    <dgm:cxn modelId="{9393A668-C8BD-42E8-9E57-EF87BDBB404A}" type="presParOf" srcId="{2A6A0ECB-24FC-48C0-AA20-1AAFA76FAB54}" destId="{E7A6BDE6-E41D-4E3A-9BD8-6D83ACC0BD68}" srcOrd="0" destOrd="0" presId="urn:microsoft.com/office/officeart/2008/layout/VerticalCurvedList"/>
    <dgm:cxn modelId="{218A50BD-A94F-4B35-BBE8-F16EE7EA99B3}" type="presParOf" srcId="{B3CDF451-ABCF-43B9-8C2C-729B9B15F099}" destId="{C50AFA46-5CCF-4B41-B1F2-2C82A678FF55}" srcOrd="3" destOrd="0" presId="urn:microsoft.com/office/officeart/2008/layout/VerticalCurvedList"/>
    <dgm:cxn modelId="{C8275B1A-6507-4ADF-81AC-6BB17BB74CB5}" type="presParOf" srcId="{B3CDF451-ABCF-43B9-8C2C-729B9B15F099}" destId="{04D01961-C3B6-464C-9361-109E04C0E126}" srcOrd="4" destOrd="0" presId="urn:microsoft.com/office/officeart/2008/layout/VerticalCurvedList"/>
    <dgm:cxn modelId="{E68B11B2-73F4-4D71-A822-ADCAEE2FBD48}" type="presParOf" srcId="{04D01961-C3B6-464C-9361-109E04C0E126}" destId="{E3FADB66-1A74-4BB3-AC5A-EAE2BF244DFF}" srcOrd="0" destOrd="0" presId="urn:microsoft.com/office/officeart/2008/layout/VerticalCurvedList"/>
    <dgm:cxn modelId="{7C2F18E9-03D4-458A-867B-6648C6FFE0C3}" type="presParOf" srcId="{B3CDF451-ABCF-43B9-8C2C-729B9B15F099}" destId="{B193DB50-272A-4D4C-A921-5105FA66BD06}" srcOrd="5" destOrd="0" presId="urn:microsoft.com/office/officeart/2008/layout/VerticalCurvedList"/>
    <dgm:cxn modelId="{D4011F87-99DD-4953-AFB5-9B2029B7F42E}" type="presParOf" srcId="{B3CDF451-ABCF-43B9-8C2C-729B9B15F099}" destId="{B1703733-CC5C-434D-94C9-7E45BA2BC244}" srcOrd="6" destOrd="0" presId="urn:microsoft.com/office/officeart/2008/layout/VerticalCurvedList"/>
    <dgm:cxn modelId="{5CE3C5F5-0D6E-4AC9-B7B7-F9613D1A95BF}" type="presParOf" srcId="{B1703733-CC5C-434D-94C9-7E45BA2BC244}" destId="{FC8907A0-78FE-4A60-B009-D6682E021638}" srcOrd="0" destOrd="0" presId="urn:microsoft.com/office/officeart/2008/layout/VerticalCurvedList"/>
    <dgm:cxn modelId="{B432FF7E-B0C1-4DBD-9DAE-EC9C74F284A9}" type="presParOf" srcId="{B3CDF451-ABCF-43B9-8C2C-729B9B15F099}" destId="{E439456E-D7F8-4CCC-8AAF-509C7B533D01}" srcOrd="7" destOrd="0" presId="urn:microsoft.com/office/officeart/2008/layout/VerticalCurvedList"/>
    <dgm:cxn modelId="{83DEC977-7192-49D4-B9B9-9DCD5A7CDC56}" type="presParOf" srcId="{B3CDF451-ABCF-43B9-8C2C-729B9B15F099}" destId="{2442D057-F4FA-44D5-A9C7-A184B33B3C70}" srcOrd="8" destOrd="0" presId="urn:microsoft.com/office/officeart/2008/layout/VerticalCurvedList"/>
    <dgm:cxn modelId="{20D861AB-10CB-47C8-89BC-5A0B25180585}" type="presParOf" srcId="{2442D057-F4FA-44D5-A9C7-A184B33B3C70}" destId="{3A2CD447-01DD-4BFE-87AF-B7378F0F778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893AD0-0A1C-4ADF-9718-A14AC0683237}">
      <dsp:nvSpPr>
        <dsp:cNvPr id="0" name=""/>
        <dsp:cNvSpPr/>
      </dsp:nvSpPr>
      <dsp:spPr bwMode="auto">
        <a:xfrm>
          <a:off x="-5348460" y="-819054"/>
          <a:ext cx="6368661" cy="6368661"/>
        </a:xfrm>
        <a:prstGeom prst="blockArc">
          <a:avLst>
            <a:gd name="adj1" fmla="val 18900000"/>
            <a:gd name="adj2" fmla="val 2700000"/>
            <a:gd name="adj3" fmla="val 339"/>
          </a:avLst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5B6D5A-154B-4BE6-A3A7-88F7CAAC9756}">
      <dsp:nvSpPr>
        <dsp:cNvPr id="0" name=""/>
        <dsp:cNvSpPr/>
      </dsp:nvSpPr>
      <dsp:spPr bwMode="auto">
        <a:xfrm>
          <a:off x="534119" y="363684"/>
          <a:ext cx="6571372" cy="727748"/>
        </a:xfrm>
        <a:prstGeom prst="rect">
          <a:avLst/>
        </a:prstGeom>
        <a:solidFill>
          <a:srgbClr val="DEC628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Individualisiertes und differenziertes Lernen</a:t>
          </a:r>
          <a:endParaRPr lang="de-DE" sz="2200" kern="1200"/>
        </a:p>
      </dsp:txBody>
      <dsp:txXfrm>
        <a:off x="534119" y="363684"/>
        <a:ext cx="6571372" cy="727748"/>
      </dsp:txXfrm>
    </dsp:sp>
    <dsp:sp modelId="{E7A6BDE6-E41D-4E3A-9BD8-6D83ACC0BD68}">
      <dsp:nvSpPr>
        <dsp:cNvPr id="0" name=""/>
        <dsp:cNvSpPr/>
      </dsp:nvSpPr>
      <dsp:spPr bwMode="auto">
        <a:xfrm>
          <a:off x="79277" y="272716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0AFA46-5CCF-4B41-B1F2-2C82A678FF55}">
      <dsp:nvSpPr>
        <dsp:cNvPr id="0" name=""/>
        <dsp:cNvSpPr/>
      </dsp:nvSpPr>
      <dsp:spPr bwMode="auto">
        <a:xfrm>
          <a:off x="951354" y="1455496"/>
          <a:ext cx="6154137" cy="727748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Unterstützung bei Routineaufgaben</a:t>
          </a:r>
          <a:endParaRPr lang="de-DE" sz="2200" kern="1200"/>
        </a:p>
      </dsp:txBody>
      <dsp:txXfrm>
        <a:off x="951354" y="1455496"/>
        <a:ext cx="6154137" cy="727748"/>
      </dsp:txXfrm>
    </dsp:sp>
    <dsp:sp modelId="{E3FADB66-1A74-4BB3-AC5A-EAE2BF244DFF}">
      <dsp:nvSpPr>
        <dsp:cNvPr id="0" name=""/>
        <dsp:cNvSpPr/>
      </dsp:nvSpPr>
      <dsp:spPr bwMode="auto">
        <a:xfrm>
          <a:off x="496512" y="1364527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93DB50-272A-4D4C-A921-5105FA66BD06}">
      <dsp:nvSpPr>
        <dsp:cNvPr id="0" name=""/>
        <dsp:cNvSpPr/>
      </dsp:nvSpPr>
      <dsp:spPr bwMode="auto">
        <a:xfrm>
          <a:off x="951354" y="2547307"/>
          <a:ext cx="6154137" cy="727748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Förderung digitaler Kompetenzen</a:t>
          </a:r>
          <a:endParaRPr lang="de-DE" sz="2200" kern="1200"/>
        </a:p>
      </dsp:txBody>
      <dsp:txXfrm>
        <a:off x="951354" y="2547307"/>
        <a:ext cx="6154137" cy="727748"/>
      </dsp:txXfrm>
    </dsp:sp>
    <dsp:sp modelId="{FC8907A0-78FE-4A60-B009-D6682E021638}">
      <dsp:nvSpPr>
        <dsp:cNvPr id="0" name=""/>
        <dsp:cNvSpPr/>
      </dsp:nvSpPr>
      <dsp:spPr bwMode="auto">
        <a:xfrm>
          <a:off x="496512" y="2456339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39456E-D7F8-4CCC-8AAF-509C7B533D01}">
      <dsp:nvSpPr>
        <dsp:cNvPr id="0" name=""/>
        <dsp:cNvSpPr/>
      </dsp:nvSpPr>
      <dsp:spPr bwMode="auto">
        <a:xfrm>
          <a:off x="534119" y="3639119"/>
          <a:ext cx="6571372" cy="727748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Zugang zu neuen Lernformen</a:t>
          </a:r>
          <a:endParaRPr lang="de-DE" sz="2200" kern="1200"/>
        </a:p>
      </dsp:txBody>
      <dsp:txXfrm>
        <a:off x="534119" y="3639119"/>
        <a:ext cx="6571372" cy="727748"/>
      </dsp:txXfrm>
    </dsp:sp>
    <dsp:sp modelId="{3A2CD447-01DD-4BFE-87AF-B7378F0F7786}">
      <dsp:nvSpPr>
        <dsp:cNvPr id="0" name=""/>
        <dsp:cNvSpPr/>
      </dsp:nvSpPr>
      <dsp:spPr bwMode="auto">
        <a:xfrm>
          <a:off x="79277" y="3548150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nur verantwortet und </a:t>
            </a:r>
            <a:r>
              <a:rPr lang="de-DE" b="1"/>
              <a:t>rechtskonform</a:t>
            </a:r>
            <a:r>
              <a:rPr lang="de-DE"/>
              <a:t>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ier Bausteine: </a:t>
            </a:r>
            <a:r>
              <a:rPr lang="de-DE" b="1"/>
              <a:t>Datenschutz</a:t>
            </a:r>
            <a:r>
              <a:rPr lang="de-DE"/>
              <a:t>, </a:t>
            </a:r>
            <a:r>
              <a:rPr lang="de-DE" b="1"/>
              <a:t>Transparenz</a:t>
            </a:r>
            <a:r>
              <a:rPr lang="de-DE"/>
              <a:t>, </a:t>
            </a:r>
            <a:r>
              <a:rPr lang="de-DE" b="1"/>
              <a:t>Einverständnis</a:t>
            </a:r>
            <a:r>
              <a:rPr lang="de-DE"/>
              <a:t>, </a:t>
            </a:r>
            <a:r>
              <a:rPr lang="de-DE" b="1"/>
              <a:t>Eth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tzung nur mit </a:t>
            </a:r>
            <a:r>
              <a:rPr lang="de-DE" b="1"/>
              <a:t>DSGVO-konformen</a:t>
            </a:r>
            <a:r>
              <a:rPr lang="de-DE"/>
              <a:t>, schulisch freigegebenen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enminimierung</a:t>
            </a:r>
            <a:r>
              <a:rPr lang="de-DE"/>
              <a:t>: nur nötige Daten, kein Upload sensibler Schülerdaten in offen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erträge/Speicherort klären, Training mit Schuldaten ausschließ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ransparen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Offenlegen: </a:t>
            </a:r>
            <a:r>
              <a:rPr lang="de-DE" b="1"/>
              <a:t>welches Tool, wofür, welche Daten, wie lan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okumentieren und für SuS/Eltern verständlich erklä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Unterstützung bei Produkten </a:t>
            </a:r>
            <a:r>
              <a:rPr lang="de-DE" b="1"/>
              <a:t>kennzeichnen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verständni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imm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willigung nur, wenn keine andere Rechtsgrundlage</a:t>
            </a:r>
            <a:r>
              <a:rPr lang="de-DE"/>
              <a:t> besteht</a:t>
            </a:r>
            <a:br>
              <a:rPr lang="de-DE"/>
            </a:br>
            <a:r>
              <a:rPr lang="de-DE"/>
              <a:t>– regelmäßig schulischer Auftrag/Schulrecht</a:t>
            </a:r>
            <a:br>
              <a:rPr lang="de-DE"/>
            </a:br>
            <a:r>
              <a:rPr lang="de-DE"/>
              <a:t>– </a:t>
            </a:r>
            <a:r>
              <a:rPr lang="de-DE" b="1"/>
              <a:t>Einwilligung nötig</a:t>
            </a:r>
            <a:r>
              <a:rPr lang="de-DE"/>
              <a:t> bei freiwilligen Angeboten, Veröffentlichungen, Bild/Ton von Kinder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thik (schulrelevante Beispiel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airness/Bias</a:t>
            </a:r>
            <a:r>
              <a:rPr lang="de-DE"/>
              <a:t>: Texte/Bilder können Vorurteile verstärken →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rheberrecht</a:t>
            </a:r>
            <a:r>
              <a:rPr lang="de-DE"/>
              <a:t> und </a:t>
            </a:r>
            <a:r>
              <a:rPr lang="de-DE" b="1"/>
              <a:t>Autorschaft</a:t>
            </a:r>
            <a:r>
              <a:rPr lang="de-DE"/>
              <a:t>: Quellen nennen, KI-Anteil kennt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wertung</a:t>
            </a:r>
            <a:r>
              <a:rPr lang="de-DE"/>
              <a:t> bei der Lehrkraft, nicht bei der KI-Anwe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Verantwortungsvoller Umgang</a:t>
            </a:r>
            <a:r>
              <a:rPr lang="de-DE"/>
              <a:t>: Was kann KI, was nicht – Grenzen thematisie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transparent, datensparsam, fai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Werkzeug und Hilfsmittel</a:t>
            </a:r>
            <a:r>
              <a:rPr lang="de-DE"/>
              <a:t>, kein Ersatz für Lehrkräf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ntscheidend ist </a:t>
            </a:r>
            <a:r>
              <a:rPr lang="de-DE" b="1"/>
              <a:t>verantwortungsvoller, reflektierter 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KI als Werkzeu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entlastet Routinen, hilft bei Differenzierung und Ideenfi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Arbeitsblatt-Entwürfe, Lesetexte in Niveaus, adaptive Üb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itplanke:</a:t>
            </a:r>
            <a:r>
              <a:rPr lang="de-DE"/>
              <a:t> Lehrkraft entscheidet, begleitet, bewertet; KI-Feedbacks sind nur Orientierung für SuS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edienkompetenz för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nder lernen KI-Ergebnisse einzuordnen und zu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Quellen-Check, KI-Anteil kennzeichnen, Bias und Urheberrecht thematis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kritisches Denken und digitales Verantwortungsbewusstsei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ialog gest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Transparente Absprachen zwischen Schule, Eltern, Lern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Klassenregeln zu KI, Infoangebote, fester Rückmeldekanal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Vertrauen, Klarheit, gemeinsame Leitlini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75041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Kurz s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Ziel: sicherer, klar geregelter KI-Einsatz an unser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Wir nutzen nur freigegebene, datenschutzkonforme Tool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Grundkenntnisse</a:t>
            </a:r>
            <a:r>
              <a:rPr lang="de-DE" dirty="0"/>
              <a:t>: LK über ALP/</a:t>
            </a:r>
            <a:r>
              <a:rPr lang="de-DE" dirty="0" err="1"/>
              <a:t>ByLKI</a:t>
            </a:r>
            <a:r>
              <a:rPr lang="de-DE" dirty="0"/>
              <a:t>, </a:t>
            </a:r>
            <a:r>
              <a:rPr lang="de-DE" dirty="0" err="1"/>
              <a:t>SuS</a:t>
            </a:r>
            <a:r>
              <a:rPr lang="de-DE" dirty="0"/>
              <a:t> im Unterricht mit dem KI-Kompa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Datenschutzkonform</a:t>
            </a:r>
            <a:r>
              <a:rPr lang="de-DE" dirty="0"/>
              <a:t>: nur Systeme, die DSGVO und Datenschutzrichtlinien der EU entspre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e personenbezogenen Daten</a:t>
            </a:r>
            <a:r>
              <a:rPr lang="de-DE" dirty="0"/>
              <a:t>: keine Namen, Fotos, Klassenlisten, Leistungsdaten in KI-Anwend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 Training mit Schülerdaten</a:t>
            </a:r>
            <a:r>
              <a:rPr lang="de-DE" dirty="0"/>
              <a:t>: Eingaben der </a:t>
            </a:r>
            <a:r>
              <a:rPr lang="de-DE" dirty="0" err="1"/>
              <a:t>SuS</a:t>
            </a:r>
            <a:r>
              <a:rPr lang="de-DE" dirty="0"/>
              <a:t> werden nicht zur Modellweiterentwicklung genutz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nnzeichnung</a:t>
            </a:r>
            <a:r>
              <a:rPr lang="de-DE" dirty="0"/>
              <a:t>: KI-Anteile in Abgaben und Produkten sichtbar ma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Prüfung</a:t>
            </a:r>
            <a:r>
              <a:rPr lang="de-DE" dirty="0"/>
              <a:t>: Inhalte auf Richtigkeit, Quellen und mögliche Verzerrungen prüfen – KI gibt Feedback, Lehrkraft bewerte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Hinweis für E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Transparenz immer, Einwilligung nur wo erforderlich (z. B. Veröffentlichung, freiwillige Angebot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5FABF95-4DB6-EBED-AE99-F3261B414290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Einstie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mpulsfrage: Wie lernen </a:t>
            </a:r>
            <a:r>
              <a:rPr lang="de-DE" sz="1100" dirty="0" err="1"/>
              <a:t>SuS</a:t>
            </a:r>
            <a:r>
              <a:rPr lang="de-DE" sz="1100" dirty="0"/>
              <a:t> den Umgang mit KI an d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Antwort: angeleitetes Ausprobieren </a:t>
            </a:r>
            <a:r>
              <a:rPr lang="de-DE" sz="1100" b="1" dirty="0"/>
              <a:t>im geschützten Rahmen</a:t>
            </a:r>
            <a:r>
              <a:rPr lang="de-DE" sz="1100" dirty="0"/>
              <a:t> und nach klaren Reg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Rechtli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r</a:t>
            </a:r>
            <a:r>
              <a:rPr lang="de-DE" sz="1100" b="1" dirty="0"/>
              <a:t> DSGVO-konforme</a:t>
            </a:r>
            <a:r>
              <a:rPr lang="de-DE" sz="1100" dirty="0"/>
              <a:t> Too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eine personenbezogenen Daten in offene Syste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Urheberrecht, Altersgrenzen, Jugendschutz beach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inwilligung nur wo nötig, Transparenz imm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Schulis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Orientierung am </a:t>
            </a:r>
            <a:r>
              <a:rPr lang="de-DE" sz="1100" b="1" dirty="0" err="1"/>
              <a:t>LehrplanPlus</a:t>
            </a:r>
            <a:r>
              <a:rPr lang="de-DE" sz="1100" dirty="0"/>
              <a:t> und an Zielen der Medienbi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Lehrkraft wählt Aufgaben, reduziert didaktisch, passt das Niveau 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tzung zur </a:t>
            </a:r>
            <a:r>
              <a:rPr lang="de-DE" sz="1100" b="1" dirty="0"/>
              <a:t>Übung, Differenzierung, Feedback</a:t>
            </a:r>
            <a:r>
              <a:rPr lang="de-DE" sz="1100" dirty="0"/>
              <a:t>, nicht zur Bewertung durch KI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Kritisches Hinterfr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nhalte prüfen: </a:t>
            </a:r>
            <a:r>
              <a:rPr lang="de-DE" sz="1100" b="1" dirty="0"/>
              <a:t>Quellen öffnen, Datum, Bias </a:t>
            </a:r>
            <a:r>
              <a:rPr lang="de-DE" sz="1100" b="0" dirty="0"/>
              <a:t>(Vorurteile)</a:t>
            </a:r>
            <a:endParaRPr lang="de-DE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I-Anteil kennzeichnen, Eigenleistung sich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thische Fragen thematisieren: Was darf KI, wo sind Grenze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52240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Überblicks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Ggf. Beispiele aus der Unterrichtspraxis zur Arbeit mit KI-Anwendungen nenne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B0E543F-3721-55E1-20C2-710B891310B7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23228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e geht </a:t>
            </a:r>
            <a:r>
              <a:rPr lang="de-DE" b="1"/>
              <a:t>verantwortungsvoll</a:t>
            </a:r>
            <a:r>
              <a:rPr lang="de-DE"/>
              <a:t> mit KI um; Einsatz nur </a:t>
            </a:r>
            <a:r>
              <a:rPr lang="de-DE" b="1"/>
              <a:t>datenschutzkonformer</a:t>
            </a:r>
            <a:r>
              <a:rPr lang="de-DE"/>
              <a:t> Anwendun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ersetzt keine Lehrkraft</a:t>
            </a:r>
            <a:r>
              <a:rPr lang="de-DE"/>
              <a:t>; sie </a:t>
            </a:r>
            <a:r>
              <a:rPr lang="de-DE" b="1"/>
              <a:t>unterstützt Lernprozesse</a:t>
            </a:r>
            <a:r>
              <a:rPr lang="de-DE"/>
              <a:t>. Die LK bleibt </a:t>
            </a:r>
            <a:r>
              <a:rPr lang="de-DE" b="1"/>
              <a:t>pädagogische Entscheidungsinstanz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rgen der Erziehungsberechtigten</a:t>
            </a:r>
            <a:r>
              <a:rPr lang="de-DE"/>
              <a:t> aktiv einladen und ernst nehmen; Raum für Fragen schaf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en Sorgen mit </a:t>
            </a:r>
            <a:r>
              <a:rPr lang="de-DE" b="1"/>
              <a:t>klaren Argumenten</a:t>
            </a:r>
            <a:r>
              <a:rPr lang="de-DE"/>
              <a:t> begegnen: Datenschutzmaßnahmen, begrenzter/zweckgebundener Einsatz, pädagogische Begleit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Übergang) → „Es gibt klare Leitplanken, an die wir uns halten.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tergrund (nur für Referierend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ahmenbedingungen</a:t>
            </a:r>
            <a:r>
              <a:rPr lang="de-DE"/>
              <a:t> für den KI-Einsatz: gemäß </a:t>
            </a:r>
            <a:r>
              <a:rPr lang="de-DE" b="1"/>
              <a:t>Handlungsleitfaden des StMU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Prüfprinzipien: </a:t>
            </a:r>
            <a:r>
              <a:rPr lang="de-DE" b="1"/>
              <a:t>Zweckbindung</a:t>
            </a:r>
            <a:r>
              <a:rPr lang="de-DE"/>
              <a:t>, </a:t>
            </a:r>
            <a:r>
              <a:rPr lang="de-DE" b="1"/>
              <a:t>Datenminimierung</a:t>
            </a:r>
            <a:r>
              <a:rPr lang="de-DE"/>
              <a:t>, </a:t>
            </a:r>
            <a:r>
              <a:rPr lang="de-DE" b="1"/>
              <a:t>Speicherort/-dauer</a:t>
            </a:r>
            <a:r>
              <a:rPr lang="de-DE"/>
              <a:t>, vertragliche Absicher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terne Abläufe: </a:t>
            </a:r>
            <a:r>
              <a:rPr lang="de-DE" b="1"/>
              <a:t>Transparente Kommunikation</a:t>
            </a:r>
            <a:r>
              <a:rPr lang="de-DE"/>
              <a:t> mit Eltern, </a:t>
            </a:r>
            <a:r>
              <a:rPr lang="de-DE" b="1"/>
              <a:t>Fortbildung</a:t>
            </a:r>
            <a:r>
              <a:rPr lang="de-DE"/>
              <a:t> des Kollegiums, </a:t>
            </a:r>
            <a:r>
              <a:rPr lang="de-DE" b="1"/>
              <a:t>Feedback-/Meldestelle</a:t>
            </a:r>
            <a:r>
              <a:rPr lang="de-DE"/>
              <a:t> bei Probl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Publikumsfrage) „Welche Fragen oder Bedenken haben Sie persönlich zum KI-Einsatz an der Schule?“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8113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s handelt sich hier um </a:t>
            </a:r>
            <a:r>
              <a:rPr lang="de-DE" b="1"/>
              <a:t>Beispiele</a:t>
            </a:r>
            <a:r>
              <a:rPr lang="de-DE"/>
              <a:t>, keine Werbung/keine Vollständigkeit: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Mathe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</a:t>
            </a:r>
            <a:r>
              <a:rPr lang="de-DE" b="1"/>
              <a:t>LK setzt Ziele</a:t>
            </a:r>
            <a:r>
              <a:rPr lang="de-DE"/>
              <a:t>, kontrolliert Lösungsweg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tzen:</a:t>
            </a:r>
            <a:r>
              <a:rPr lang="de-DE"/>
              <a:t> Tempo-Differenzierung, sofortiges </a:t>
            </a:r>
            <a:r>
              <a:rPr lang="de-DE" b="1"/>
              <a:t>prozessbezogenes Feedbac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sen – Unterstützung &amp; Zugäng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Leseflüssigkeit &amp; -verständnis </a:t>
            </a:r>
            <a:r>
              <a:rPr lang="de-DE" b="1"/>
              <a:t>entlasten/aufbauen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LaLeTu, Microsoft Immersive Reader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Vorlesen, Silbierung/Zeilenfokus, </a:t>
            </a:r>
            <a:r>
              <a:rPr lang="de-DE" b="1"/>
              <a:t>Textvereinfachung</a:t>
            </a:r>
            <a:r>
              <a:rPr lang="de-DE"/>
              <a:t>, Glossar, kurze Verständnisfra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Stillarbeits-Station, Hausaufgabe mit Elterninfo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chreibenlernen – Sensorik/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Schreibmotorik</a:t>
            </a:r>
            <a:r>
              <a:rPr lang="de-DE"/>
              <a:t> und Formtraining mit unmittelbarem Feedback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:</a:t>
            </a:r>
            <a:r>
              <a:rPr lang="de-DE"/>
              <a:t> Stabilo </a:t>
            </a:r>
            <a:r>
              <a:rPr lang="de-DE" b="1"/>
              <a:t>EduPen</a:t>
            </a:r>
            <a:r>
              <a:rPr lang="de-DE"/>
              <a:t> (Digitalstift + App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Griff/Stiftdruck/Bewegung erfassen → </a:t>
            </a:r>
            <a:r>
              <a:rPr lang="de-DE" b="1"/>
              <a:t>Übungsvorschläge</a:t>
            </a:r>
            <a:r>
              <a:rPr lang="de-DE"/>
              <a:t>; </a:t>
            </a:r>
            <a:r>
              <a:rPr lang="de-DE" b="1"/>
              <a:t>LK sieht Auswertung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stdiagnose als </a:t>
            </a:r>
            <a:r>
              <a:rPr lang="de-DE" b="1"/>
              <a:t>Grundlage für Übungsplan</a:t>
            </a:r>
            <a:r>
              <a:rPr lang="de-DE"/>
              <a:t>, nicht als Note.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98229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Beispiele, keine Empfehlungsliste</a:t>
            </a:r>
            <a:r>
              <a:rPr lang="de-DE"/>
              <a:t>; Auswahl richtet sich nach </a:t>
            </a:r>
            <a:r>
              <a:rPr lang="de-DE" b="1"/>
              <a:t>Schulvorgaben &amp; Datenschutz</a:t>
            </a:r>
            <a:r>
              <a:rPr lang="de-DE"/>
              <a:t>.</a:t>
            </a:r>
            <a:endParaRPr/>
          </a:p>
          <a:p>
            <a:pPr>
              <a:defRPr/>
            </a:pPr>
            <a:r>
              <a:rPr lang="de-DE" b="1"/>
              <a:t>Lehrkraft steuert</a:t>
            </a:r>
            <a:r>
              <a:rPr lang="de-DE"/>
              <a:t>, passt an und </a:t>
            </a:r>
            <a:r>
              <a:rPr lang="de-DE" b="1"/>
              <a:t>prüft Ergebnisse</a:t>
            </a:r>
            <a:r>
              <a:rPr lang="de-DE"/>
              <a:t>.</a:t>
            </a:r>
            <a:endParaRPr/>
          </a:p>
          <a:p>
            <a:pPr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athematik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Lernpfade je nach </a:t>
            </a:r>
            <a:r>
              <a:rPr lang="de-DE" b="1"/>
              <a:t>Fehlermuster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K-Rolle:</a:t>
            </a:r>
            <a:r>
              <a:rPr lang="de-DE"/>
              <a:t> Ziele setzen, Aufgaben freigeben, </a:t>
            </a:r>
            <a:r>
              <a:rPr lang="de-DE" b="1"/>
              <a:t>Lösungswege kontrollieren</a:t>
            </a:r>
            <a:r>
              <a:rPr lang="de-DE"/>
              <a:t>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emdsprachen – interaktive Anwend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Wortschatz, Hör-/Leseverstehen, Sprechen trainier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Duolingo (Drills/Spiel-Elemente), DeepL (verständliche Übersetzungen/Alternativen), LanguageTool (Stil-/Grammatik-Hinweis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Warm-up, Hausaufgabe, Differenzierung im Stationenlern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</a:t>
            </a:r>
            <a:r>
              <a:rPr lang="de-DE" b="1"/>
              <a:t>Eigenleistung sichern</a:t>
            </a:r>
            <a:r>
              <a:rPr lang="de-DE"/>
              <a:t> (z. B. mündliche Checks, kurze Transfers)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Rechtschreibung &amp; Grammati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gezielte Fehler-Rückmeldung</a:t>
            </a:r>
            <a:r>
              <a:rPr lang="de-DE"/>
              <a:t> und Überarbeitungsschlei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Orthografietrainer, LanguageTool, DeepL (Formulierungsvariant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Überarbeitung von Entwürfen mit </a:t>
            </a:r>
            <a:r>
              <a:rPr lang="de-DE" b="1"/>
              <a:t>klaren Kriterien</a:t>
            </a:r>
            <a:r>
              <a:rPr lang="de-DE"/>
              <a:t>; Reflexion: „Was habe ich verbessert?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/>
          </a:p>
          <a:p>
            <a:pPr>
              <a:defRPr/>
            </a:pPr>
            <a:r>
              <a:rPr lang="de-DE" b="1"/>
              <a:t>Wenn an Ihrer Schule bereits im Einsatz:</a:t>
            </a:r>
            <a:endParaRPr/>
          </a:p>
          <a:p>
            <a:pPr>
              <a:defRPr/>
            </a:pPr>
            <a:r>
              <a:rPr lang="de-DE"/>
              <a:t>Kurzschema zur Vorstellung: </a:t>
            </a:r>
            <a:r>
              <a:rPr lang="de-DE" b="1"/>
              <a:t>Tool – Zweck – Jahrgang – Datenschutzrahmen – Rolle der LK</a:t>
            </a:r>
            <a:r>
              <a:rPr lang="de-DE"/>
              <a:t> (1–2 Min.).</a:t>
            </a:r>
            <a:endParaRPr/>
          </a:p>
          <a:p>
            <a:pPr>
              <a:defRPr/>
            </a:pPr>
            <a:endParaRPr lang="de-DE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3659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KI eignet sich </a:t>
            </a:r>
            <a:r>
              <a:rPr lang="de-DE" b="1" dirty="0"/>
              <a:t>sehr gut</a:t>
            </a:r>
            <a:r>
              <a:rPr lang="de-DE" dirty="0"/>
              <a:t> zur Erstellung </a:t>
            </a:r>
            <a:r>
              <a:rPr lang="de-DE" b="1" dirty="0"/>
              <a:t>multimedialer Inhalte</a:t>
            </a:r>
            <a:r>
              <a:rPr lang="de-DE" dirty="0"/>
              <a:t> (Audio/Podcast/Hörspiel).</a:t>
            </a:r>
            <a:endParaRPr dirty="0"/>
          </a:p>
          <a:p>
            <a:pPr>
              <a:defRPr/>
            </a:pPr>
            <a:r>
              <a:rPr lang="de-DE" b="1" dirty="0"/>
              <a:t>Eltern</a:t>
            </a:r>
            <a:r>
              <a:rPr lang="de-DE" dirty="0"/>
              <a:t> können in den Podcast per </a:t>
            </a:r>
            <a:r>
              <a:rPr lang="de-DE" b="1" dirty="0"/>
              <a:t>QR-Code</a:t>
            </a:r>
            <a:r>
              <a:rPr lang="de-DE" dirty="0"/>
              <a:t> oder Link </a:t>
            </a:r>
            <a:r>
              <a:rPr lang="de-DE" b="1" dirty="0"/>
              <a:t>reinhören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b="1" dirty="0"/>
              <a:t>Eigene Schulbeispiele</a:t>
            </a:r>
            <a:r>
              <a:rPr lang="de-DE" dirty="0"/>
              <a:t> wirken am stärksten – gern </a:t>
            </a:r>
            <a:r>
              <a:rPr lang="de-DE" b="1" dirty="0"/>
              <a:t>kurz </a:t>
            </a:r>
            <a:r>
              <a:rPr lang="de-DE" b="1"/>
              <a:t>live zeigen</a:t>
            </a:r>
            <a:r>
              <a:rPr lang="de-DE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r>
              <a:rPr lang="de-DE" dirty="0"/>
              <a:t>KI = </a:t>
            </a:r>
            <a:r>
              <a:rPr lang="de-DE" b="1" dirty="0"/>
              <a:t>Impulsgeber/Assistent</a:t>
            </a:r>
            <a:r>
              <a:rPr lang="de-DE" dirty="0"/>
              <a:t>, die </a:t>
            </a:r>
            <a:r>
              <a:rPr lang="de-DE" b="1" dirty="0"/>
              <a:t>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Podcast – Grundrechte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Ziel: </a:t>
            </a:r>
            <a:r>
              <a:rPr lang="de-DE" b="1" dirty="0"/>
              <a:t>Wissen vertiefen</a:t>
            </a:r>
            <a:r>
              <a:rPr lang="de-DE" dirty="0"/>
              <a:t> und in </a:t>
            </a:r>
            <a:r>
              <a:rPr lang="de-DE" b="1" dirty="0"/>
              <a:t>Podcast-Form</a:t>
            </a:r>
            <a:r>
              <a:rPr lang="de-DE" dirty="0"/>
              <a:t> für eine Zielgruppe </a:t>
            </a:r>
            <a:r>
              <a:rPr lang="de-DE" b="1" dirty="0"/>
              <a:t>verständlich</a:t>
            </a:r>
            <a:r>
              <a:rPr lang="de-DE" dirty="0"/>
              <a:t> aufbereit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Kompetenzen: </a:t>
            </a:r>
            <a:r>
              <a:rPr lang="de-DE" b="1" dirty="0"/>
              <a:t>Medienkompetenz</a:t>
            </a:r>
            <a:r>
              <a:rPr lang="de-DE" dirty="0"/>
              <a:t> (KI-Tools bedienen, Formatunterschiede </a:t>
            </a:r>
            <a:r>
              <a:rPr lang="de-DE" b="1" dirty="0"/>
              <a:t>Sachtext ↔ Podcast</a:t>
            </a:r>
            <a:r>
              <a:rPr lang="de-DE" dirty="0"/>
              <a:t>, Regeln für gute Podcasts), </a:t>
            </a:r>
            <a:r>
              <a:rPr lang="de-DE" b="1" dirty="0"/>
              <a:t>reflektiertes</a:t>
            </a:r>
            <a:r>
              <a:rPr lang="de-DE" dirty="0"/>
              <a:t> Arbeiten mit digitalen Werkzeug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Fächerverbindung: </a:t>
            </a:r>
            <a:r>
              <a:rPr lang="de-DE" b="1" dirty="0"/>
              <a:t>Politik – Deutsch – Medienbildung</a:t>
            </a:r>
            <a:r>
              <a:rPr lang="de-DE" dirty="0"/>
              <a:t>; </a:t>
            </a:r>
            <a:r>
              <a:rPr lang="de-DE" b="1" dirty="0"/>
              <a:t>Lebensweltbezug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öglich mit </a:t>
            </a:r>
            <a:r>
              <a:rPr lang="de-DE" b="1" dirty="0" err="1"/>
              <a:t>ByLKI</a:t>
            </a:r>
            <a:r>
              <a:rPr lang="de-DE" dirty="0"/>
              <a:t> / </a:t>
            </a:r>
            <a:r>
              <a:rPr lang="de-DE" b="1" dirty="0" err="1"/>
              <a:t>ByCS</a:t>
            </a:r>
            <a:r>
              <a:rPr lang="de-DE" b="1" dirty="0"/>
              <a:t>-KI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Hörspiel – Deutsch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it KI </a:t>
            </a:r>
            <a:r>
              <a:rPr lang="de-DE" b="1" dirty="0"/>
              <a:t>Ideen/Handlungsgerüst/Dialogstrukturen/Sound-Hinweise</a:t>
            </a:r>
            <a:r>
              <a:rPr lang="de-DE" dirty="0"/>
              <a:t> generier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b="1" dirty="0"/>
              <a:t>verfeinern &amp; passen Sprache an</a:t>
            </a:r>
            <a:r>
              <a:rPr lang="de-DE" dirty="0"/>
              <a:t>, erstellen </a:t>
            </a:r>
            <a:r>
              <a:rPr lang="de-DE" b="1" dirty="0"/>
              <a:t>Skript mit Regieanweisungen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Produktion: </a:t>
            </a:r>
            <a:r>
              <a:rPr lang="de-DE" b="1" dirty="0"/>
              <a:t>Einsprechen</a:t>
            </a:r>
            <a:r>
              <a:rPr lang="de-DE" dirty="0"/>
              <a:t>, </a:t>
            </a:r>
            <a:r>
              <a:rPr lang="de-DE" b="1" dirty="0"/>
              <a:t>Geräusche/Musik</a:t>
            </a:r>
            <a:r>
              <a:rPr lang="de-DE" dirty="0"/>
              <a:t> aufnehmen, </a:t>
            </a:r>
            <a:r>
              <a:rPr lang="de-DE" b="1" dirty="0"/>
              <a:t>selbst abmischen</a:t>
            </a:r>
            <a:r>
              <a:rPr lang="de-DE" dirty="0"/>
              <a:t> (arbeitsteilig)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Ergebnis: </a:t>
            </a:r>
            <a:r>
              <a:rPr lang="de-DE" b="1" dirty="0"/>
              <a:t>kreatives, authentisches Lernprodukt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>
              <a:defRPr/>
            </a:pPr>
            <a:r>
              <a:rPr lang="de-DE" b="1" dirty="0"/>
              <a:t>KI = Impulsgeber</a:t>
            </a:r>
            <a:r>
              <a:rPr lang="de-DE" dirty="0"/>
              <a:t>, 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Ergebnis: </a:t>
            </a:r>
            <a:r>
              <a:rPr lang="de-DE" b="1" dirty="0"/>
              <a:t>motivierende, authentische Lernprodukte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(Optional) Kurz die </a:t>
            </a:r>
            <a:r>
              <a:rPr lang="de-DE" b="1" dirty="0"/>
              <a:t>Erstellung live</a:t>
            </a:r>
            <a:r>
              <a:rPr lang="de-DE" dirty="0"/>
              <a:t> demonstrieren – Prompt → kurzer Clip.</a:t>
            </a:r>
            <a:endParaRPr dirty="0"/>
          </a:p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34137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QR-Codes scannen oder anklicken</a:t>
            </a:r>
            <a:r>
              <a:rPr lang="de-DE"/>
              <a:t> → Eltern hören/lesen direkt hinein.</a:t>
            </a:r>
            <a:endParaRPr/>
          </a:p>
          <a:p>
            <a:pPr>
              <a:defRPr/>
            </a:pPr>
            <a:r>
              <a:rPr lang="de-DE"/>
              <a:t>Auswahl = </a:t>
            </a:r>
            <a:r>
              <a:rPr lang="de-DE" b="1"/>
              <a:t>seriöse Einstiegsquellen</a:t>
            </a:r>
            <a:r>
              <a:rPr lang="de-DE"/>
              <a:t>; keine Werbung.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Inhalt der Links (1 Satz je Kreis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licksafe:</a:t>
            </a:r>
            <a:r>
              <a:rPr lang="de-DE"/>
              <a:t> Tipps &amp; Materialien zu </a:t>
            </a:r>
            <a:r>
              <a:rPr lang="de-DE" b="1"/>
              <a:t>Medien-/KI-Kompetenz</a:t>
            </a:r>
            <a:r>
              <a:rPr lang="de-DE"/>
              <a:t> für Eltern &amp; Schul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ragZebra:</a:t>
            </a:r>
            <a:r>
              <a:rPr lang="de-DE"/>
              <a:t> </a:t>
            </a:r>
            <a:r>
              <a:rPr lang="de-DE" b="1"/>
              <a:t>Niedrigschwellige Erklärungen</a:t>
            </a:r>
            <a:r>
              <a:rPr lang="de-DE"/>
              <a:t> und Praxisfragen rund um Digitalth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ultusministerium:</a:t>
            </a:r>
            <a:r>
              <a:rPr lang="de-DE"/>
              <a:t> </a:t>
            </a:r>
            <a:r>
              <a:rPr lang="de-DE" b="1"/>
              <a:t>Regelungen, Leitfäden, Hinweise</a:t>
            </a:r>
            <a:r>
              <a:rPr lang="de-DE"/>
              <a:t> zum KI-Einsatz an Schul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er KI-Podcast:</a:t>
            </a:r>
            <a:r>
              <a:rPr lang="de-DE"/>
              <a:t> </a:t>
            </a:r>
            <a:r>
              <a:rPr lang="de-DE" b="1"/>
              <a:t>Verständliche Einordnung</a:t>
            </a:r>
            <a:r>
              <a:rPr lang="de-DE"/>
              <a:t> aktueller KI-Themen für den Allta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oderationshin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1–2 Links kurz live öffnen</a:t>
            </a:r>
            <a:r>
              <a:rPr lang="de-DE"/>
              <a:t> (30–45 Sek. je Link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ermutigen: </a:t>
            </a:r>
            <a:r>
              <a:rPr lang="de-DE" b="1"/>
              <a:t>zu Hause nachschauen</a:t>
            </a:r>
            <a:r>
              <a:rPr lang="de-DE"/>
              <a:t> und bei Fragen </a:t>
            </a:r>
            <a:r>
              <a:rPr lang="de-DE" b="1"/>
              <a:t>Kontakt</a:t>
            </a:r>
            <a:r>
              <a:rPr lang="de-DE"/>
              <a:t> aufnehmen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9304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46727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wurden vorab über den KI-Einsatz inform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eute sammeln wir Fragen und geben klare Ant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stieg mit Zita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arbeiten jetzt mit KI in der Schule“ vorles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ndzeichen: Wer hat das zu Hause schon gehör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ypische Fragen – Kurzantwor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kann ich mein Kind unterstützen</a:t>
            </a:r>
            <a:r>
              <a:rPr lang="de-DE"/>
              <a:t> → Coach sein, nach dem Weg fragen, Ergebnis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ausaufgaben nur noch mit KI</a:t>
            </a:r>
            <a:r>
              <a:rPr lang="de-DE"/>
              <a:t> → nein, nur wenn die Aufgabe es vorsieht, sonst ni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t das Kind noch selbstständig</a:t>
            </a:r>
            <a:r>
              <a:rPr lang="de-DE"/>
              <a:t> → ja, Eigenleistung bleibt Pflicht, KI hilft nu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Anwendungen verwenden</a:t>
            </a:r>
            <a:r>
              <a:rPr lang="de-DE"/>
              <a:t> → ausschließlich von der Schule freigegebene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ibt es Regeln</a:t>
            </a:r>
            <a:r>
              <a:rPr lang="de-DE"/>
              <a:t> → Kennzeichnung, Quellen, Datenschutz, keine personenbezogenen Da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ür zu Hau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Absprechen: Was darf KI bei Hausaufgaben, wie kennzeichnen, Zeitfens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ini-Check: Quelle öffnen, Datum prüfen, Erklärung in eigenen 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weis für Sie als Lehrkraft: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rgumentationshilfe für kritische Eltern</a:t>
            </a:r>
            <a:r>
              <a:rPr lang="de-DE"/>
              <a:t> </a:t>
            </a:r>
            <a:r>
              <a:rPr lang="de-DE">
                <a:solidFill>
                  <a:srgbClr val="FF0000"/>
                </a:solidFill>
              </a:rPr>
              <a:t>[Link einfügen]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D3DF856-822C-63C5-E1E1-1F6280C051EB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Interesse zeigen &amp; im Gespräch bleiben</a:t>
            </a:r>
            <a:r>
              <a:rPr lang="de-DE"/>
              <a:t> – sich zeigen lassen, was das Kind mit KI 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elbst informieren</a:t>
            </a:r>
            <a:r>
              <a:rPr lang="de-DE"/>
              <a:t> – Schulinfos/Links nutzen, kurz gegenprüfen, was Tools kö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Bedarf Unterstützung holen</a:t>
            </a:r>
            <a:r>
              <a:rPr lang="de-DE"/>
              <a:t> – Rücksprache mit Lehrkraft, Berater digitale Bildung (BdB), andere Erziehungsberechtig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meinsame Regeln festlegen &amp; sichtbar machen</a:t>
            </a:r>
            <a:r>
              <a:rPr lang="de-DE"/>
              <a:t> – was erlaubt ist, Kennzeichnung, Zeiten/Or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gleiten und vertrauen</a:t>
            </a:r>
            <a:r>
              <a:rPr lang="de-DE"/>
              <a:t> – Risiken benennen, Eigenleistung betonen, zu kreativer Nutzung ermut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Überleitung</a:t>
            </a:r>
            <a:r>
              <a:rPr lang="de-DE"/>
              <a:t>: Diese fünf Punkte schauen wir gleich nacheinander genauer a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 b="1"/>
              <a:t>Kernide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Neugier fördern und im Gespräch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nd als </a:t>
            </a:r>
            <a:r>
              <a:rPr lang="de-DE" sz="1100" b="1"/>
              <a:t>Experte</a:t>
            </a:r>
            <a:r>
              <a:rPr lang="de-DE" sz="1100"/>
              <a:t> zu Wort kommen lass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Hilfreiche Fr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ie habt ihr das in der Schule ge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elche KI-Anwendungen habt ihr ge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as habt ihr damit ausprob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ollen wir uns das gemeinsam noch mal anseh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arianten je Al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Jünger:</a:t>
            </a:r>
            <a:r>
              <a:rPr lang="de-DE" sz="1100"/>
              <a:t> Zeig mir mal, wie das g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Älter:</a:t>
            </a:r>
            <a:r>
              <a:rPr lang="de-DE" sz="1100"/>
              <a:t> Welche Schritte hast du gemacht und warum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Wenn die Schule ein Tool 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urz vorstellen: </a:t>
            </a:r>
            <a:r>
              <a:rPr lang="de-DE" sz="1100" b="1"/>
              <a:t>Tool – wofür – welche Regel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Mini-Demo in 2 Minuten, dann Rückfragen sammel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5</a:t>
            </a:fld>
            <a:endParaRPr lang="de-DE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KI steckt in vielen Alltagsfunktionen – oft unbewuss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raten lassen, </a:t>
            </a:r>
            <a:r>
              <a:rPr lang="de-DE" b="1"/>
              <a:t>wo</a:t>
            </a:r>
            <a:r>
              <a:rPr lang="de-DE"/>
              <a:t> ihre Kinder KI heute schon begeg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Beispiele knapp erklä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usik- &amp; Videoempfehlungen</a:t>
            </a:r>
            <a:r>
              <a:rPr lang="de-DE"/>
              <a:t> → Vorschläge nach Hör-/Sehverhalten, Abspieldauer, Überspri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cial-Media-Feeds</a:t>
            </a:r>
            <a:r>
              <a:rPr lang="de-DE"/>
              <a:t> → Sortierung nach Interaktionen und Verweildau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-Apps</a:t>
            </a:r>
            <a:r>
              <a:rPr lang="de-DE"/>
              <a:t> → Gegner-KI und </a:t>
            </a:r>
            <a:r>
              <a:rPr lang="de-DE" b="1"/>
              <a:t>dynamischer Schwierigkeitsgrad</a:t>
            </a:r>
            <a:r>
              <a:rPr lang="de-DE"/>
              <a:t> je Leist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Chats &amp; Übersetzungen</a:t>
            </a:r>
            <a:r>
              <a:rPr lang="de-DE"/>
              <a:t> → maschinelle Übersetzung, Chatbot als Gegenüb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</a:t>
            </a:r>
            <a:r>
              <a:rPr lang="de-DE"/>
              <a:t> → Sprache erkennen und in natürlich gesprochene Antworten umwa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amera &amp; Fotos</a:t>
            </a:r>
            <a:r>
              <a:rPr lang="de-DE"/>
              <a:t> → Szenenerkennung, HDR, Rauschreduktion, Portraitmodus, Objekte entf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uchfunktionen</a:t>
            </a:r>
            <a:r>
              <a:rPr lang="de-DE"/>
              <a:t> → Autovervollständigung, Suchvorschläge, teils kurze KI-Zusammenfassung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Z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Nutzungsdaten → persönliche Vorschlä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 zu Hause: </a:t>
            </a:r>
            <a:r>
              <a:rPr lang="de-DE" b="1"/>
              <a:t>neugierig nachfragen, gemeinsam einordne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8FF51B5E-5353-28FD-1323-35447FCB28C9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sind erste Ansprechperson → </a:t>
            </a:r>
            <a:r>
              <a:rPr lang="de-DE" sz="1100" b="1"/>
              <a:t>Grundwissen</a:t>
            </a:r>
            <a:r>
              <a:rPr lang="de-DE" sz="1100"/>
              <a:t> hilft beim Beglei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QR-Code führt zum </a:t>
            </a:r>
            <a:r>
              <a:rPr lang="de-DE" sz="1100" b="1"/>
              <a:t>KI-Campus Podcast „KI kapiert“</a:t>
            </a:r>
            <a:r>
              <a:rPr lang="de-DE" sz="1100"/>
              <a:t> als leichter Einstie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So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QR-Code scannen</a:t>
            </a:r>
            <a:r>
              <a:rPr lang="de-DE" sz="1100"/>
              <a:t> und kurz anhö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Bedarf auf </a:t>
            </a:r>
            <a:r>
              <a:rPr lang="de-DE" sz="1100" b="1"/>
              <a:t>KI-Campus</a:t>
            </a:r>
            <a:r>
              <a:rPr lang="de-DE" sz="1100"/>
              <a:t> weiterstöbern: Grundlagen, kurze Erklärvideos, Glossar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erlässliche Quellen ne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I-Campus</a:t>
            </a:r>
            <a:r>
              <a:rPr lang="de-DE" sz="1100"/>
              <a:t>, </a:t>
            </a:r>
            <a:r>
              <a:rPr lang="de-DE" sz="1100" b="1"/>
              <a:t>klicksafe</a:t>
            </a:r>
            <a:r>
              <a:rPr lang="de-DE" sz="1100"/>
              <a:t>, Hinweise der </a:t>
            </a:r>
            <a:r>
              <a:rPr lang="de-DE" sz="1100" b="1"/>
              <a:t>Schule/StMUK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Mini-Check beim Inform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Datum</a:t>
            </a:r>
            <a:r>
              <a:rPr lang="de-DE" sz="1100"/>
              <a:t>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erausgeber</a:t>
            </a:r>
            <a:r>
              <a:rPr lang="de-DE" sz="1100"/>
              <a:t> und </a:t>
            </a:r>
            <a:r>
              <a:rPr lang="de-DE" sz="1100" b="1"/>
              <a:t>Quellen</a:t>
            </a:r>
            <a:r>
              <a:rPr lang="de-DE" sz="1100"/>
              <a:t> 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Praxisbezug Schule</a:t>
            </a:r>
            <a:r>
              <a:rPr lang="de-DE" sz="1100"/>
              <a:t> und </a:t>
            </a:r>
            <a:r>
              <a:rPr lang="de-DE" sz="1100" b="1"/>
              <a:t>Datenschutzhinweise</a:t>
            </a:r>
            <a:r>
              <a:rPr lang="de-DE" sz="1100"/>
              <a:t>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u Hause kurz </a:t>
            </a:r>
            <a:r>
              <a:rPr lang="de-DE" sz="1100" b="1"/>
              <a:t>gemeinsam reinhören</a:t>
            </a:r>
            <a:r>
              <a:rPr lang="de-DE" sz="1100"/>
              <a:t> und gemeinsam darüber </a:t>
            </a:r>
            <a:r>
              <a:rPr lang="de-DE" sz="1100" b="1"/>
              <a:t>re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7</a:t>
            </a:fld>
            <a:endParaRPr lang="de-DE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hilft, aber liefert </a:t>
            </a:r>
            <a:r>
              <a:rPr lang="de-DE" b="1"/>
              <a:t>nicht automatisch Wahrheit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ias</a:t>
            </a:r>
            <a:r>
              <a:rPr lang="de-DE"/>
              <a:t> möglich, weil aus einseitigen Daten gelernt wi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ltung: </a:t>
            </a:r>
            <a:r>
              <a:rPr lang="de-DE" b="1"/>
              <a:t>prüfen statt Pan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o erklärt man Verzerr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inseitige Trainingsdaten → Klischees in Text oder Bil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odelle klingen sicher, können </a:t>
            </a:r>
            <a:r>
              <a:rPr lang="de-DE" b="1"/>
              <a:t>erfinden</a:t>
            </a:r>
            <a:r>
              <a:rPr lang="de-DE"/>
              <a:t> oder Quellen falsch zuord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milien-Check in 30 Seku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 öff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um prüf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ite Quelle</a:t>
            </a:r>
            <a:r>
              <a:rPr lang="de-DE"/>
              <a:t> su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 in </a:t>
            </a:r>
            <a:r>
              <a:rPr lang="de-DE" b="1"/>
              <a:t>eigenen Worten</a:t>
            </a:r>
            <a:r>
              <a:rPr lang="de-DE"/>
              <a:t> erklä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agen an di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Quellen</a:t>
            </a:r>
            <a:r>
              <a:rPr lang="de-DE"/>
              <a:t> hast du genutzt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sicher</a:t>
            </a:r>
            <a:r>
              <a:rPr lang="de-DE"/>
              <a:t> bist du und was spricht dagegen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eig mir Gegenargumente</a:t>
            </a:r>
            <a:r>
              <a:rPr lang="de-DE"/>
              <a:t> oder eine andere Sicht?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onlage für die Elt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nutzen KI gern – </a:t>
            </a:r>
            <a:r>
              <a:rPr lang="de-DE" b="1"/>
              <a:t>wenn wir prüfen</a:t>
            </a:r>
            <a:r>
              <a:rPr lang="de-DE"/>
              <a:t>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</a:t>
            </a:r>
            <a:r>
              <a:rPr lang="de-DE" b="1"/>
              <a:t>sachliche Aufmerksamkeit</a:t>
            </a:r>
            <a:r>
              <a:rPr lang="de-DE"/>
              <a:t>, kein Misstrau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6AA95C0-A15D-9D8D-F723-62822BB30C26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externe Anlaufstellen für </a:t>
            </a:r>
            <a:r>
              <a:rPr lang="de-DE" sz="1100" b="1"/>
              <a:t>Information</a:t>
            </a:r>
            <a:r>
              <a:rPr lang="de-DE" sz="1100"/>
              <a:t> und </a:t>
            </a:r>
            <a:r>
              <a:rPr lang="de-DE" sz="1100" b="1"/>
              <a:t>Beratung</a:t>
            </a:r>
            <a:r>
              <a:rPr lang="de-DE" sz="1100"/>
              <a:t> ze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Info-Portale nennen: </a:t>
            </a:r>
            <a:r>
              <a:rPr lang="de-DE" sz="1100" b="1"/>
              <a:t>weitklick</a:t>
            </a:r>
            <a:r>
              <a:rPr lang="de-DE" sz="1100"/>
              <a:t>, </a:t>
            </a:r>
            <a:r>
              <a:rPr lang="de-DE" sz="1100" b="1"/>
              <a:t>schau-hin</a:t>
            </a:r>
            <a:r>
              <a:rPr lang="de-DE" sz="1100"/>
              <a:t>, </a:t>
            </a:r>
            <a:r>
              <a:rPr lang="de-DE" sz="1100" b="1"/>
              <a:t>fragzebra</a:t>
            </a:r>
            <a:r>
              <a:rPr lang="de-DE" sz="1100"/>
              <a:t>, </a:t>
            </a:r>
            <a:r>
              <a:rPr lang="de-DE" sz="1100" b="1"/>
              <a:t>klicksafe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ratung in Bayern: </a:t>
            </a:r>
            <a:r>
              <a:rPr lang="de-DE" sz="1100" b="1"/>
              <a:t>Beratung digitale Bildung</a:t>
            </a:r>
            <a:r>
              <a:rPr lang="de-DE" sz="1100"/>
              <a:t> beim StMUK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Schulansprechpartner angeben: </a:t>
            </a:r>
            <a:r>
              <a:rPr lang="de-DE" sz="1100" b="1"/>
              <a:t>Name, Mail, Telefo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zugäng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kann um </a:t>
            </a:r>
            <a:r>
              <a:rPr lang="de-DE" sz="1100" b="1"/>
              <a:t>eigene schulische/kommunale Quellen</a:t>
            </a:r>
            <a:r>
              <a:rPr lang="de-DE" sz="1100"/>
              <a:t> erweitert wer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9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Heute: </a:t>
            </a:r>
            <a:r>
              <a:rPr lang="de-DE" sz="1100" b="1"/>
              <a:t>Was ist KI?</a:t>
            </a:r>
            <a:r>
              <a:rPr lang="de-DE" sz="1100"/>
              <a:t> Wie funktioniert sie – und was heißt das </a:t>
            </a:r>
            <a:r>
              <a:rPr lang="de-DE" sz="1100" b="1"/>
              <a:t>für Schule &amp; Kinder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 = Systeme, die </a:t>
            </a:r>
            <a:r>
              <a:rPr lang="de-DE" sz="1100" b="1"/>
              <a:t>aus Daten Muster lernen</a:t>
            </a:r>
            <a:r>
              <a:rPr lang="de-DE" sz="1100"/>
              <a:t> (keine „Magie“, kein Bewusstsein)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Ablauf mit Vide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urzer Clip</a:t>
            </a:r>
            <a:r>
              <a:rPr lang="de-DE" sz="1100"/>
              <a:t> „Was ist eigentlich KI?“ (vom </a:t>
            </a:r>
            <a:r>
              <a:rPr lang="de-DE" sz="1100" b="1"/>
              <a:t>KI-Campus</a:t>
            </a:r>
            <a:r>
              <a:rPr lang="de-DE" sz="1100"/>
              <a:t>) abspie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: </a:t>
            </a:r>
            <a:r>
              <a:rPr lang="de-DE" sz="1100" b="1"/>
              <a:t>QR-Code/Link</a:t>
            </a:r>
            <a:r>
              <a:rPr lang="de-DE" sz="1100"/>
              <a:t> nutzen; alternativ </a:t>
            </a:r>
            <a:r>
              <a:rPr lang="de-DE" sz="1100" b="1"/>
              <a:t>ohne Ton kurz zusammenfassen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e (30 Sek.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andzeichen:</a:t>
            </a:r>
            <a:r>
              <a:rPr lang="de-DE" sz="1100"/>
              <a:t> Wer nutzt </a:t>
            </a:r>
            <a:r>
              <a:rPr lang="de-DE" sz="1100" b="1"/>
              <a:t>Sprachassistent/Übersetzer/Empfehlungen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eitfrage: </a:t>
            </a:r>
            <a:r>
              <a:rPr lang="de-DE" sz="1100" b="1"/>
              <a:t>Wo</a:t>
            </a:r>
            <a:r>
              <a:rPr lang="de-DE" sz="1100"/>
              <a:t> begegnet Ihnen KI im Alltag Ihres Kindes?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/>
              <a:t>Ziel: Eltern kennen verlässliche </a:t>
            </a:r>
            <a:r>
              <a:rPr lang="de-DE" sz="1100" b="1"/>
              <a:t>Beratungsstell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chule des Kindes</a:t>
            </a:r>
            <a:r>
              <a:rPr lang="de-DE" sz="1100"/>
              <a:t> als erste Anlaufstelle – Tel/Mail einbl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slehrkraft</a:t>
            </a:r>
            <a:r>
              <a:rPr lang="de-DE" sz="1100"/>
              <a:t> nennen – Name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 digitale Bildung</a:t>
            </a:r>
            <a:r>
              <a:rPr lang="de-DE" sz="1100"/>
              <a:t> im mebis Magazin – zuständigen </a:t>
            </a:r>
            <a:r>
              <a:rPr lang="de-DE" sz="1100" b="1"/>
              <a:t>BdB</a:t>
            </a:r>
            <a:r>
              <a:rPr lang="de-DE" sz="1100"/>
              <a:t> fi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taatliche Schulberatung in Bayern</a:t>
            </a:r>
            <a:r>
              <a:rPr lang="de-DE" sz="1100"/>
              <a:t>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kurz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tei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bei Bedarf um </a:t>
            </a:r>
            <a:r>
              <a:rPr lang="de-DE" sz="1100" b="1"/>
              <a:t>eigene schulische/kommunale Angebote</a:t>
            </a:r>
            <a:r>
              <a:rPr lang="de-DE" sz="1100"/>
              <a:t> erweiter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0</a:t>
            </a:fld>
            <a:endParaRPr lang="de-DE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Ziel der 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regeln zu KI </a:t>
            </a:r>
            <a:r>
              <a:rPr lang="de-DE" b="1"/>
              <a:t>gemeinsam tragen</a:t>
            </a:r>
            <a:r>
              <a:rPr lang="de-DE"/>
              <a:t> und </a:t>
            </a:r>
            <a:r>
              <a:rPr lang="de-DE" b="1"/>
              <a:t>sichtbar mach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zeigen, wie sie das zu Hause </a:t>
            </a:r>
            <a:r>
              <a:rPr lang="de-DE" b="1"/>
              <a:t>übernehmen</a:t>
            </a:r>
            <a:r>
              <a:rPr lang="de-DE"/>
              <a:t> kön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r>
              <a:rPr lang="de-DE" b="1"/>
              <a:t>Kernregeln kurz bü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nur bei Bedarf</a:t>
            </a:r>
            <a:r>
              <a:rPr lang="de-DE"/>
              <a:t> und </a:t>
            </a:r>
            <a:r>
              <a:rPr lang="de-DE" b="1"/>
              <a:t>als Unterstüt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r von der Lehrkraft freigegebene</a:t>
            </a:r>
            <a:r>
              <a:rPr lang="de-DE"/>
              <a:t> Tools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</a:t>
            </a:r>
            <a:r>
              <a:rPr lang="de-DE" b="1"/>
              <a:t>kritisch prüfen</a:t>
            </a:r>
            <a:r>
              <a:rPr lang="de-DE"/>
              <a:t> – Sachbücher, Recherche, Lexika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persönlichen Daten</a:t>
            </a:r>
            <a:r>
              <a:rPr lang="de-DE"/>
              <a:t> einge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Hilfe </a:t>
            </a:r>
            <a:r>
              <a:rPr lang="de-DE" b="1"/>
              <a:t>kennzeich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Problemen red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egelverstoß → kein KI-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31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Schulregeln in </a:t>
            </a:r>
            <a:r>
              <a:rPr lang="de-DE" sz="1100" b="1"/>
              <a:t>Hausregeln</a:t>
            </a:r>
            <a:r>
              <a:rPr lang="de-DE" sz="1100"/>
              <a:t> übertragen und sichtbar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Regeln der Schule</a:t>
            </a:r>
            <a:r>
              <a:rPr lang="de-DE" sz="1100"/>
              <a:t> zu Hause anw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Gemeinsam formulieren</a:t>
            </a:r>
            <a:r>
              <a:rPr lang="de-DE" sz="1100"/>
              <a:t> – bei Bedarf gleich </a:t>
            </a:r>
            <a:r>
              <a:rPr lang="de-DE" sz="1100" b="1"/>
              <a:t>Konsequenzen</a:t>
            </a:r>
            <a:r>
              <a:rPr lang="de-DE" sz="1100"/>
              <a:t> festle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Regeln </a:t>
            </a:r>
            <a:r>
              <a:rPr lang="de-DE" sz="1100" b="1"/>
              <a:t>sichtbar aufhängen</a:t>
            </a:r>
            <a:r>
              <a:rPr lang="de-DE" sz="1100"/>
              <a:t> am Lernplatz/Familienboa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Vorbild sein</a:t>
            </a:r>
            <a:r>
              <a:rPr lang="de-DE" sz="1100"/>
              <a:t>: Eltern und Kinder halten die Regeln 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spiele aus der Grafik: </a:t>
            </a:r>
            <a:r>
              <a:rPr lang="de-DE" sz="1100" b="1"/>
              <a:t>Mikrofon aus</a:t>
            </a:r>
            <a:r>
              <a:rPr lang="de-DE" sz="1100"/>
              <a:t>, </a:t>
            </a:r>
            <a:r>
              <a:rPr lang="de-DE" sz="1100" b="1"/>
              <a:t>Quellen vergleichen</a:t>
            </a:r>
            <a:r>
              <a:rPr lang="de-DE" sz="1100"/>
              <a:t>, </a:t>
            </a:r>
            <a:r>
              <a:rPr lang="de-DE" sz="1100" b="1"/>
              <a:t>Autoplay aus</a:t>
            </a:r>
            <a:r>
              <a:rPr lang="de-DE" sz="1100"/>
              <a:t>, </a:t>
            </a:r>
            <a:r>
              <a:rPr lang="de-DE" sz="1100" b="1"/>
              <a:t>über Bilder sprechen</a:t>
            </a:r>
            <a:r>
              <a:rPr lang="de-DE" sz="1100"/>
              <a:t>, </a:t>
            </a:r>
            <a:r>
              <a:rPr lang="de-DE" sz="1100" b="1"/>
              <a:t>Profil privat</a:t>
            </a:r>
            <a:r>
              <a:rPr lang="de-DE" sz="1100"/>
              <a:t>, </a:t>
            </a:r>
            <a:r>
              <a:rPr lang="de-DE" sz="1100" b="1"/>
              <a:t>Spielezeit planen</a:t>
            </a:r>
            <a:endParaRPr lang="de-DE" sz="1100" b="1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>
                <a:latin typeface="Arial"/>
                <a:cs typeface="Arial"/>
              </a:rPr>
              <a:t>Von Zeit zu Zeit aktualisieren!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2</a:t>
            </a:fld>
            <a:endParaRPr lang="de-DE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Positiven Abschluss setzen: Chancen sehen, ruhig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als </a:t>
            </a:r>
            <a:r>
              <a:rPr lang="de-DE" sz="1100" b="1"/>
              <a:t>Coach</a:t>
            </a:r>
            <a:r>
              <a:rPr lang="de-DE" sz="1100"/>
              <a:t>: begleiten, nicht abneh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igenleistung</a:t>
            </a:r>
            <a:r>
              <a:rPr lang="de-DE" sz="1100"/>
              <a:t> bleibt Maßstab – KI nur als Hilf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Im Dialog bleiben</a:t>
            </a:r>
            <a:r>
              <a:rPr lang="de-DE" sz="1100"/>
              <a:t>: kurz nachfragen,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Verantwortung schrittweise </a:t>
            </a:r>
            <a:r>
              <a:rPr lang="de-DE" sz="1100" b="1"/>
              <a:t>übergeben</a:t>
            </a:r>
            <a:r>
              <a:rPr lang="de-DE" sz="1100"/>
              <a:t> – Kind arbeitet möglichst selbstständi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leine Routine zu Hause: Plan → eigener Versuch → KI als Coach → Quellenche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rfolge würdigen</a:t>
            </a:r>
            <a:r>
              <a:rPr lang="de-DE" sz="1100"/>
              <a:t>, gute Beispiele samm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Unsicherheit kurz Rückkopplung mit der </a:t>
            </a:r>
            <a:r>
              <a:rPr lang="de-DE" sz="1100" b="1"/>
              <a:t>Schule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3</a:t>
            </a:fld>
            <a:endParaRPr lang="de-DE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0" i="0" u="none" strike="noStrike">
                <a:solidFill>
                  <a:srgbClr val="000000"/>
                </a:solidFill>
                <a:latin typeface="Helvetica"/>
              </a:rPr>
              <a:t>Bitte bei Verwendung der Grafiken folgende Quelle angeben: BLM Stiftung Medienpädagogik Bayern, CC-BY-NC-4.0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5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Definitio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I = Maschinen imitieren menschliche Fähigkeiten</a:t>
            </a:r>
            <a:r>
              <a:rPr lang="de-DE"/>
              <a:t> (Denken, Lernen, Plan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 Bewusstsein</a:t>
            </a:r>
            <a:r>
              <a:rPr lang="de-DE"/>
              <a:t> – es geht um </a:t>
            </a:r>
            <a:r>
              <a:rPr lang="de-DE" b="1"/>
              <a:t>Nachahmung</a:t>
            </a:r>
            <a:r>
              <a:rPr lang="de-DE"/>
              <a:t> von Leistungen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unktions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viele Daten → Mustererkenn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Modell berechnet </a:t>
            </a:r>
            <a:r>
              <a:rPr lang="de-DE" b="1"/>
              <a:t>Wahrscheinlichkeiten</a:t>
            </a:r>
            <a:r>
              <a:rPr lang="de-DE"/>
              <a:t> („was passt am ehesten?“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hr &amp; passendes Training →</a:t>
            </a:r>
            <a:r>
              <a:rPr lang="de-DE"/>
              <a:t> Ergebnisse werden </a:t>
            </a:r>
            <a:r>
              <a:rPr lang="de-DE" b="1"/>
              <a:t>genauer/leistungsfähig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Qualität nur so gut wie die </a:t>
            </a:r>
            <a:r>
              <a:rPr lang="de-DE" b="1"/>
              <a:t>Dat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ichts Neues:</a:t>
            </a:r>
            <a:r>
              <a:rPr lang="de-DE" sz="1200">
                <a:latin typeface="Aptos"/>
                <a:cs typeface="Arial"/>
              </a:rPr>
              <a:t> KI-Forschung seit den </a:t>
            </a:r>
            <a:r>
              <a:rPr lang="de-DE" sz="1200" b="1">
                <a:latin typeface="Aptos"/>
                <a:cs typeface="Arial"/>
              </a:rPr>
              <a:t>1950ern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5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Turing-Test </a:t>
            </a:r>
            <a:r>
              <a:rPr lang="de-DE" sz="1200" b="0">
                <a:latin typeface="Aptos"/>
                <a:cs typeface="Arial"/>
              </a:rPr>
              <a:t>(zur Unterscheidung von Mensch und Computer)</a:t>
            </a:r>
            <a:r>
              <a:rPr lang="de-DE" sz="1200">
                <a:latin typeface="Aptos"/>
                <a:cs typeface="Arial"/>
              </a:rPr>
              <a:t>; erste Programme automatisieren einfache Aufgaben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60er–80er:</a:t>
            </a:r>
            <a:r>
              <a:rPr lang="de-DE" sz="1200">
                <a:latin typeface="Aptos"/>
                <a:cs typeface="Arial"/>
              </a:rPr>
              <a:t> komplexere Systeme (</a:t>
            </a:r>
            <a:r>
              <a:rPr lang="de-DE" sz="1200" b="1">
                <a:latin typeface="Aptos"/>
                <a:cs typeface="Arial"/>
              </a:rPr>
              <a:t>Schach</a:t>
            </a:r>
            <a:r>
              <a:rPr lang="de-DE" sz="1200">
                <a:latin typeface="Aptos"/>
                <a:cs typeface="Arial"/>
              </a:rPr>
              <a:t>, Logik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200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Big Data + Rechenleistung</a:t>
            </a:r>
            <a:r>
              <a:rPr lang="de-DE" sz="1200">
                <a:latin typeface="Aptos"/>
                <a:cs typeface="Arial"/>
              </a:rPr>
              <a:t> → maschinelles Lernen wird praxistauglich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Seit 2010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Deep Learning</a:t>
            </a:r>
            <a:r>
              <a:rPr lang="de-DE" sz="1200">
                <a:latin typeface="Aptos"/>
                <a:cs typeface="Arial"/>
              </a:rPr>
              <a:t>; große Sprachmodelle (z. B. ChatGPT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euheit:</a:t>
            </a:r>
            <a:r>
              <a:rPr lang="de-DE" sz="1200">
                <a:latin typeface="Aptos"/>
                <a:cs typeface="Arial"/>
              </a:rPr>
              <a:t> KI kann </a:t>
            </a:r>
            <a:r>
              <a:rPr lang="de-DE" sz="1200" b="1">
                <a:latin typeface="Aptos"/>
                <a:cs typeface="Arial"/>
              </a:rPr>
              <a:t>Inhalte generieren</a:t>
            </a:r>
            <a:r>
              <a:rPr lang="de-DE" sz="1200">
                <a:latin typeface="Aptos"/>
                <a:cs typeface="Arial"/>
              </a:rPr>
              <a:t> (Text/Bild/Audio) – nicht nur erkennen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Brücke zur Schule:</a:t>
            </a:r>
            <a:r>
              <a:rPr lang="de-DE" sz="1200">
                <a:latin typeface="Aptos"/>
                <a:cs typeface="Arial"/>
              </a:rPr>
              <a:t> neue </a:t>
            </a:r>
            <a:r>
              <a:rPr lang="de-DE" sz="1200" b="1">
                <a:latin typeface="Aptos"/>
                <a:cs typeface="Arial"/>
              </a:rPr>
              <a:t>Lern- &amp; Feedback-Möglichkeiten</a:t>
            </a:r>
            <a:r>
              <a:rPr lang="de-DE" sz="1200">
                <a:latin typeface="Aptos"/>
                <a:cs typeface="Arial"/>
              </a:rPr>
              <a:t>; </a:t>
            </a:r>
            <a:r>
              <a:rPr lang="de-DE" sz="1200" b="1">
                <a:latin typeface="Aptos"/>
                <a:cs typeface="Arial"/>
              </a:rPr>
              <a:t>Bewertung bleibt menschlich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Eltern verstehen, worüber Kinder sprechen (z. B. </a:t>
            </a:r>
            <a:r>
              <a:rPr lang="de-DE" b="1"/>
              <a:t>ChatGPT</a:t>
            </a:r>
            <a:r>
              <a:rPr lang="de-DE"/>
              <a:t>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LM:</a:t>
            </a:r>
            <a:r>
              <a:rPr lang="de-DE"/>
              <a:t> große </a:t>
            </a:r>
            <a:r>
              <a:rPr lang="de-DE" b="1"/>
              <a:t>Sprachmodelle</a:t>
            </a:r>
            <a:r>
              <a:rPr lang="de-DE"/>
              <a:t>; auf vielen Texten trainiert; sagen </a:t>
            </a:r>
            <a:r>
              <a:rPr lang="de-DE" b="1"/>
              <a:t>wahrscheinlich nächstes Wort</a:t>
            </a:r>
            <a:r>
              <a:rPr lang="de-DE"/>
              <a:t> voraus (z. B. ChatGPT, Gemini, Claud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nerative KI:</a:t>
            </a:r>
            <a:r>
              <a:rPr lang="de-DE"/>
              <a:t> </a:t>
            </a:r>
            <a:r>
              <a:rPr lang="de-DE" b="1"/>
              <a:t>erstellt Neues</a:t>
            </a:r>
            <a:r>
              <a:rPr lang="de-DE"/>
              <a:t> aus Vorgaben (Text, Bild, Audio, Video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aus </a:t>
            </a:r>
            <a:r>
              <a:rPr lang="de-DE" b="1"/>
              <a:t>Daten Muster lernen</a:t>
            </a:r>
            <a:r>
              <a:rPr lang="de-DE"/>
              <a:t> → Modell wird durch </a:t>
            </a:r>
            <a:r>
              <a:rPr lang="de-DE" b="1"/>
              <a:t>Training</a:t>
            </a:r>
            <a:r>
              <a:rPr lang="de-DE"/>
              <a:t> bess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rksatz:</a:t>
            </a:r>
            <a:r>
              <a:rPr lang="de-DE"/>
              <a:t> </a:t>
            </a:r>
            <a:r>
              <a:rPr lang="de-DE" i="1"/>
              <a:t>ML = Fundament</a:t>
            </a:r>
            <a:r>
              <a:rPr lang="de-DE"/>
              <a:t>, </a:t>
            </a:r>
            <a:r>
              <a:rPr lang="de-DE" i="1"/>
              <a:t>LLM = Sprachspezialist</a:t>
            </a:r>
            <a:r>
              <a:rPr lang="de-DE"/>
              <a:t>, </a:t>
            </a:r>
            <a:r>
              <a:rPr lang="de-DE" i="1"/>
              <a:t>generative KI = Inhalte erzeug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gebnisse </a:t>
            </a:r>
            <a:r>
              <a:rPr lang="de-DE" b="1"/>
              <a:t>prüfen</a:t>
            </a:r>
            <a:r>
              <a:rPr lang="de-DE"/>
              <a:t> (Fehler/Halluzinationen möglich)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nder begegnen KI täglich in Medien, Spielen, Suche und beim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Chancen nutzen, Nutzung bewusst beglei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o begegnet sie den Kin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ziale Medien:</a:t>
            </a:r>
            <a:r>
              <a:rPr lang="de-DE"/>
              <a:t> Chatbots, personalisierte Feeds und Empfehl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:</a:t>
            </a:r>
            <a:r>
              <a:rPr lang="de-DE"/>
              <a:t> Gegner-KI, dynamischer Schwierigkeitsgrad, personalisierte Quest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 &amp; Suche:</a:t>
            </a:r>
            <a:r>
              <a:rPr lang="de-DE"/>
              <a:t> Siri, Alexa, Gemini; teils KI-Antworten als schneller Einstie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-Apps:</a:t>
            </a:r>
            <a:r>
              <a:rPr lang="de-DE"/>
              <a:t> Anton, Duolingo, Scoyo nutzen KI zur Anpass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Positive Effekte von Lern-App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assende Aufgaben</a:t>
            </a:r>
            <a:r>
              <a:rPr lang="de-DE"/>
              <a:t> je nach Lernstand und Temp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nmittelbares Feedback</a:t>
            </a:r>
            <a:r>
              <a:rPr lang="de-DE"/>
              <a:t> und klare nächste Schrit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otivation</a:t>
            </a:r>
            <a:r>
              <a:rPr lang="de-DE"/>
              <a:t> durch kleine Erfolge, Gamification, individuelle Ziel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arriereärmerer Zugang</a:t>
            </a:r>
            <a:r>
              <a:rPr lang="de-DE"/>
              <a:t> z. B. Vorlesen, einfache Sprache, Übersetz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für Lehrkräfte</a:t>
            </a:r>
            <a:r>
              <a:rPr lang="de-DE"/>
              <a:t> zu Fortschritt und Übungsschwerpunk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itplan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und Datenschutzeinstellungen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nicht ungeprüft übernehmen, immer gegen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Bei Fragen an Schule wenden – wir begleiten die Nutzung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Vorabinf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Richtig eingesetzt bereichert KI Unterricht, schafft Zeit für pädagogische Kern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itplanke: Lehrkraft steuert, prüft, bewerte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Individualisiertes und differenziertes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-Anwendungen passen Inhalte, Schwierigkeit und Tempo an den Lernstand an und geben gezieltes Hinweis-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Aufgaben in 3 Niveaus, vereinfachte Lesetexte, adaptive Matheübungen, Zusatzhilfen für DaZ/LRS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Unterstützung bei Routine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Wiederkehrende Tätigkeiten werden automatisiert, damit mehr Raum für Interaktion entst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Entwürfe für Arbeitsblätter und Elternbriefe, Fragenpools und Mini-Quizzes, Rechtschreib-/Stilhinweise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örderung digitaler Kompeten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Bewusster KI-Einsatz stärkt Medienkompetenz, kritisches Denken und Verantwortungsbewussts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Quellen prüfen und KI-Antworten verifizieren, gute Prompts schreiben, Bias erkennen, Urheberrecht und Datenschutz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Zugang zu neuen Lernfor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 eröffnet kreative, multimodale Projekte und sichere Übungsräu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Podcast oder Hörspiel mit KI als Ideen- und Strukturhilfe, Bild-Text-Storytelling, Fremdsprachen-Chatbots für Rollenspiele, Debatten-Simulationen in D/GPG/SoWi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KI unterstütz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Chancen nutzen, Risiken aktiv man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rei Felder: Datenschutz, Verlässlichkeit, Übernutzung/Täusch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 &amp; Sicherhe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verarbeitet oft </a:t>
            </a:r>
            <a:r>
              <a:rPr lang="de-DE" b="1"/>
              <a:t>personenbezogene Dat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r </a:t>
            </a:r>
            <a:r>
              <a:rPr lang="de-DE" b="1"/>
              <a:t>zugelassene, DSGVO-konforme</a:t>
            </a:r>
            <a:r>
              <a:rPr lang="de-DE"/>
              <a:t> Tools; Rahmen: </a:t>
            </a:r>
            <a:r>
              <a:rPr lang="de-DE" b="1"/>
              <a:t>EU-KI-VO</a:t>
            </a:r>
            <a:r>
              <a:rPr lang="de-DE"/>
              <a:t>, Schulre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Schülerdaten</a:t>
            </a:r>
            <a:r>
              <a:rPr lang="de-DE"/>
              <a:t> in offene Systeme, </a:t>
            </a:r>
            <a:r>
              <a:rPr lang="de-DE" b="1"/>
              <a:t>genaue Prüfung</a:t>
            </a:r>
            <a:r>
              <a:rPr lang="de-DE"/>
              <a:t> vor Einsatz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Verlässlichkeit von Inh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können </a:t>
            </a:r>
            <a:r>
              <a:rPr lang="de-DE" b="1"/>
              <a:t>fehlerhaft</a:t>
            </a:r>
            <a:r>
              <a:rPr lang="de-DE"/>
              <a:t> oder </a:t>
            </a:r>
            <a:r>
              <a:rPr lang="de-DE" b="1"/>
              <a:t>verzerrt</a:t>
            </a:r>
            <a:r>
              <a:rPr lang="de-DE"/>
              <a:t> sein (</a:t>
            </a:r>
            <a:r>
              <a:rPr lang="de-DE" b="1"/>
              <a:t>Bias</a:t>
            </a:r>
            <a:r>
              <a:rPr lang="de-DE"/>
              <a:t>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n-Check</a:t>
            </a:r>
            <a:r>
              <a:rPr lang="de-DE"/>
              <a:t>: Quelle öffnen, Datum prüfen, mit Fachwissen verglei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als </a:t>
            </a:r>
            <a:r>
              <a:rPr lang="de-DE" b="1"/>
              <a:t>Entwurf</a:t>
            </a:r>
            <a:r>
              <a:rPr lang="de-DE"/>
              <a:t> nutzen, nicht als Endproduk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Gefahr der Übernutzung oder Täusch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Hilfe, keine Abkür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genleistung bleibt wichtig</a:t>
            </a:r>
            <a:r>
              <a:rPr lang="de-DE"/>
              <a:t>: KI-Nutzung kennzeichnen, praxisorientierte 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rnfortschritt sichern durch </a:t>
            </a:r>
            <a:r>
              <a:rPr lang="de-DE" b="1"/>
              <a:t>mündliche Checks</a:t>
            </a:r>
            <a:r>
              <a:rPr lang="de-DE"/>
              <a:t> und Prozessdokumentatio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60513" y="1509553"/>
            <a:ext cx="6203969" cy="476506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036" y="515519"/>
            <a:ext cx="67709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6" name="Textplatzhalter 19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4293" y="778589"/>
            <a:ext cx="677090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57861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058943" y="2209359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pic>
        <p:nvPicPr>
          <p:cNvPr id="12" name="Image 6" descr="preencoded.png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7775756" y="2245908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594030" y="5308135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10" name="Image 4" descr="preencoded.png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436641" y="5030087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3" name="Image 0" descr="preencoded.png"/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424450" y="1768063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424450" y="3042909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Shape 1"/>
          <p:cNvSpPr/>
          <p:nvPr userDrawn="1"/>
        </p:nvSpPr>
        <p:spPr bwMode="auto">
          <a:xfrm>
            <a:off x="554327" y="1742985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Shape 4"/>
          <p:cNvSpPr/>
          <p:nvPr userDrawn="1"/>
        </p:nvSpPr>
        <p:spPr bwMode="auto">
          <a:xfrm>
            <a:off x="554327" y="3042909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7"/>
          <p:cNvSpPr/>
          <p:nvPr userDrawn="1"/>
        </p:nvSpPr>
        <p:spPr bwMode="auto">
          <a:xfrm>
            <a:off x="554327" y="4244487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3" name="Shape 10"/>
          <p:cNvSpPr/>
          <p:nvPr userDrawn="1"/>
        </p:nvSpPr>
        <p:spPr bwMode="auto">
          <a:xfrm>
            <a:off x="554327" y="5446066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Textplatzhalter 71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424450" y="4242046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6" name="Textplatzhalter 71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424450" y="5443625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22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402526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9098923" y="3420836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250725" y="3420837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pic>
        <p:nvPicPr>
          <p:cNvPr id="4" name="Image 1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465210" y="2100182"/>
            <a:ext cx="2815343" cy="747152"/>
          </a:xfrm>
          <a:prstGeom prst="rect">
            <a:avLst/>
          </a:prstGeom>
        </p:spPr>
      </p:pic>
      <p:pic>
        <p:nvPicPr>
          <p:cNvPr id="5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3280553" y="2100182"/>
            <a:ext cx="2815446" cy="747152"/>
          </a:xfrm>
          <a:prstGeom prst="rect">
            <a:avLst/>
          </a:prstGeom>
        </p:spPr>
      </p:pic>
      <p:pic>
        <p:nvPicPr>
          <p:cNvPr id="6" name="Image 3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6095999" y="2100182"/>
            <a:ext cx="2815343" cy="747152"/>
          </a:xfrm>
          <a:prstGeom prst="rect">
            <a:avLst/>
          </a:prstGeom>
        </p:spPr>
      </p:pic>
      <p:pic>
        <p:nvPicPr>
          <p:cNvPr id="7" name="Image 4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8911342" y="2100182"/>
            <a:ext cx="2815446" cy="74715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816731" y="2730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554413" y="2730840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088740" y="2743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Shape 1"/>
          <p:cNvSpPr/>
          <p:nvPr userDrawn="1"/>
        </p:nvSpPr>
        <p:spPr bwMode="auto">
          <a:xfrm>
            <a:off x="554327" y="1920791"/>
            <a:ext cx="11059291" cy="18458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>
            <a:solidFill>
              <a:srgbClr val="E8DC7B"/>
            </a:solidFill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9" name="Shape 6"/>
          <p:cNvSpPr/>
          <p:nvPr userDrawn="1"/>
        </p:nvSpPr>
        <p:spPr bwMode="auto">
          <a:xfrm>
            <a:off x="2325887" y="1920741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3"/>
          <p:cNvSpPr/>
          <p:nvPr userDrawn="1"/>
        </p:nvSpPr>
        <p:spPr bwMode="auto">
          <a:xfrm>
            <a:off x="2173050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6"/>
          <p:cNvSpPr/>
          <p:nvPr userDrawn="1"/>
        </p:nvSpPr>
        <p:spPr bwMode="auto">
          <a:xfrm>
            <a:off x="6063569" y="1920742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Shape 7"/>
          <p:cNvSpPr/>
          <p:nvPr userDrawn="1"/>
        </p:nvSpPr>
        <p:spPr bwMode="auto">
          <a:xfrm>
            <a:off x="5910732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4" name="Shape 11"/>
          <p:cNvSpPr/>
          <p:nvPr userDrawn="1"/>
        </p:nvSpPr>
        <p:spPr bwMode="auto">
          <a:xfrm>
            <a:off x="9801251" y="1920743"/>
            <a:ext cx="45719" cy="782554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Shape 12"/>
          <p:cNvSpPr/>
          <p:nvPr userDrawn="1"/>
        </p:nvSpPr>
        <p:spPr bwMode="auto">
          <a:xfrm>
            <a:off x="9648414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5695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0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1" r:id="rId16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11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image" Target="../media/image42.png"/><Relationship Id="rId7" Type="http://schemas.openxmlformats.org/officeDocument/2006/relationships/image" Target="../media/image4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image" Target="../media/image50.jpg"/><Relationship Id="rId4" Type="http://schemas.openxmlformats.org/officeDocument/2006/relationships/image" Target="../media/image4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0.png"/><Relationship Id="rId4" Type="http://schemas.openxmlformats.org/officeDocument/2006/relationships/hyperlink" Target="https://9177.drive.bycs.de/s/yxqWUkfrkOMajAj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hyperlink" Target="https://www.klicksafe.de/kuenstliche-intelligenz" TargetMode="External"/><Relationship Id="rId7" Type="http://schemas.openxmlformats.org/officeDocument/2006/relationships/hyperlink" Target="https://www.fragzebra.de/themenwelt/k%C3%BCnstliche-intelligenz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2.png"/><Relationship Id="rId5" Type="http://schemas.openxmlformats.org/officeDocument/2006/relationships/hyperlink" Target="https://www.km.bayern.de/gestalten/digitalisierung/kuenstliche-intelligenz" TargetMode="External"/><Relationship Id="rId10" Type="http://schemas.openxmlformats.org/officeDocument/2006/relationships/image" Target="../media/image64.png"/><Relationship Id="rId4" Type="http://schemas.openxmlformats.org/officeDocument/2006/relationships/image" Target="../media/image61.png"/><Relationship Id="rId9" Type="http://schemas.openxmlformats.org/officeDocument/2006/relationships/hyperlink" Target="https://www.ardaudiothek.de/sendung/der-ki-podcast/94632864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9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5.png"/><Relationship Id="rId4" Type="http://schemas.openxmlformats.org/officeDocument/2006/relationships/hyperlink" Target="https://ki-campus.org/podcasts/kikapiert?locale=de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g"/><Relationship Id="rId3" Type="http://schemas.openxmlformats.org/officeDocument/2006/relationships/hyperlink" Target="http://www.weitklick.de/" TargetMode="External"/><Relationship Id="rId7" Type="http://schemas.openxmlformats.org/officeDocument/2006/relationships/hyperlink" Target="https://www.km.bayern.de/gestalten/digitalisierung/unterrichten-in-der-digitalen-welt/beratung-digitale-bildung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1.xml"/><Relationship Id="rId6" Type="http://schemas.openxmlformats.org/officeDocument/2006/relationships/hyperlink" Target="http://www.klicksafe.de/" TargetMode="External"/><Relationship Id="rId5" Type="http://schemas.openxmlformats.org/officeDocument/2006/relationships/hyperlink" Target="http://www.fragzebra.de/" TargetMode="External"/><Relationship Id="rId4" Type="http://schemas.openxmlformats.org/officeDocument/2006/relationships/hyperlink" Target="http://www.schau-hin.info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ki-campus.org/videos/wasistki" TargetMode="External"/><Relationship Id="rId5" Type="http://schemas.openxmlformats.org/officeDocument/2006/relationships/image" Target="../media/image12.png"/><Relationship Id="rId4" Type="http://schemas.openxmlformats.org/officeDocument/2006/relationships/image" Target="../media/image14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ebis.bycs.de/bdb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2.jpg"/><Relationship Id="rId4" Type="http://schemas.openxmlformats.org/officeDocument/2006/relationships/hyperlink" Target="https://www.schulberatung.bayern.de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/4.0/deed.de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g"/><Relationship Id="rId13" Type="http://schemas.openxmlformats.org/officeDocument/2006/relationships/image" Target="../media/image80.jpg"/><Relationship Id="rId18" Type="http://schemas.openxmlformats.org/officeDocument/2006/relationships/image" Target="../media/image84.jpg"/><Relationship Id="rId3" Type="http://schemas.openxmlformats.org/officeDocument/2006/relationships/image" Target="../media/image43.jpg"/><Relationship Id="rId21" Type="http://schemas.openxmlformats.org/officeDocument/2006/relationships/image" Target="../media/image86.jpg"/><Relationship Id="rId7" Type="http://schemas.openxmlformats.org/officeDocument/2006/relationships/image" Target="../media/image50.jpg"/><Relationship Id="rId12" Type="http://schemas.openxmlformats.org/officeDocument/2006/relationships/image" Target="../media/image79.jpg"/><Relationship Id="rId17" Type="http://schemas.openxmlformats.org/officeDocument/2006/relationships/image" Target="../media/image83.jpg"/><Relationship Id="rId25" Type="http://schemas.openxmlformats.org/officeDocument/2006/relationships/image" Target="../media/image88.jpg"/><Relationship Id="rId2" Type="http://schemas.openxmlformats.org/officeDocument/2006/relationships/notesSlide" Target="../notesSlides/notesSlide35.xml"/><Relationship Id="rId16" Type="http://schemas.openxmlformats.org/officeDocument/2006/relationships/image" Target="../media/image11.jpg"/><Relationship Id="rId20" Type="http://schemas.openxmlformats.org/officeDocument/2006/relationships/image" Target="../media/image85.jp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6.jpg"/><Relationship Id="rId11" Type="http://schemas.openxmlformats.org/officeDocument/2006/relationships/image" Target="../media/image78.jpg"/><Relationship Id="rId24" Type="http://schemas.openxmlformats.org/officeDocument/2006/relationships/image" Target="../media/image44.jpg"/><Relationship Id="rId5" Type="http://schemas.openxmlformats.org/officeDocument/2006/relationships/image" Target="../media/image49.jpg"/><Relationship Id="rId15" Type="http://schemas.openxmlformats.org/officeDocument/2006/relationships/image" Target="../media/image82.jpg"/><Relationship Id="rId23" Type="http://schemas.openxmlformats.org/officeDocument/2006/relationships/image" Target="../media/image45.jpg"/><Relationship Id="rId10" Type="http://schemas.openxmlformats.org/officeDocument/2006/relationships/image" Target="../media/image77.jpg"/><Relationship Id="rId19" Type="http://schemas.openxmlformats.org/officeDocument/2006/relationships/image" Target="../media/image48.jpg"/><Relationship Id="rId4" Type="http://schemas.openxmlformats.org/officeDocument/2006/relationships/image" Target="../media/image75.jpg"/><Relationship Id="rId9" Type="http://schemas.openxmlformats.org/officeDocument/2006/relationships/image" Target="../media/image47.jpg"/><Relationship Id="rId14" Type="http://schemas.openxmlformats.org/officeDocument/2006/relationships/image" Target="../media/image81.jpg"/><Relationship Id="rId22" Type="http://schemas.openxmlformats.org/officeDocument/2006/relationships/image" Target="../media/image8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png"/><Relationship Id="rId7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 dirty="0"/>
              <a:t>B</a:t>
            </a:r>
            <a:endParaRPr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 lnSpcReduction="100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528385" y="2497087"/>
            <a:ext cx="2710476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Datenschutz</a:t>
            </a:r>
            <a:endParaRPr lang="de-DE"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42795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Datenschutz &amp; ethische Aspekte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8266951" y="2497087"/>
            <a:ext cx="2710476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Transparenz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 bwMode="auto">
          <a:xfrm>
            <a:off x="8266950" y="4835749"/>
            <a:ext cx="2396664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Ethik</a:t>
            </a:r>
            <a:endParaRPr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 bwMode="auto">
          <a:xfrm>
            <a:off x="1035425" y="4808646"/>
            <a:ext cx="3336846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Einverständnis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0</a:t>
            </a:fld>
            <a:endParaRPr lang="de-DE"/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27361" y="2670610"/>
            <a:ext cx="540132" cy="649715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816208" y="2924410"/>
            <a:ext cx="651267" cy="783397"/>
          </a:xfrm>
          <a:prstGeom prst="rect">
            <a:avLst/>
          </a:prstGeom>
        </p:spPr>
      </p:pic>
      <p:pic>
        <p:nvPicPr>
          <p:cNvPr id="11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490574" y="4513859"/>
            <a:ext cx="651267" cy="783397"/>
          </a:xfrm>
          <a:prstGeom prst="rect">
            <a:avLst/>
          </a:prstGeom>
        </p:spPr>
      </p:pic>
      <p:pic>
        <p:nvPicPr>
          <p:cNvPr id="12" name="Image 7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890875" y="4456601"/>
            <a:ext cx="540132" cy="6497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1</a:t>
            </a:fld>
            <a:endParaRPr lang="de-DE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auto">
          <a:xfrm>
            <a:off x="556036" y="515519"/>
            <a:ext cx="6770908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 bwMode="auto">
          <a:xfrm>
            <a:off x="544293" y="778589"/>
            <a:ext cx="6770907" cy="430887"/>
          </a:xfrm>
        </p:spPr>
        <p:txBody>
          <a:bodyPr/>
          <a:lstStyle/>
          <a:p>
            <a:pPr>
              <a:defRPr/>
            </a:pPr>
            <a:r>
              <a:rPr lang="de-DE"/>
              <a:t>Ziele in der nutzung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7666971" y="6475333"/>
            <a:ext cx="3970702" cy="262240"/>
            <a:chOff x="7666971" y="6475333"/>
            <a:chExt cx="3970702" cy="262240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7666971" y="6491352"/>
              <a:ext cx="3970702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Vater hilft seinem Kind bei den Hausaufgaben – erstellt mit ChatGPT 4.o am 05.06.2025</a:t>
              </a:r>
              <a:endParaRPr/>
            </a:p>
            <a:p>
              <a:pPr algn="r">
                <a:defRPr/>
              </a:pPr>
              <a:endParaRPr lang="de-DE">
                <a:solidFill>
                  <a:srgbClr val="DEC628"/>
                </a:solidFill>
                <a:latin typeface="Aptos"/>
              </a:endParaRPr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hape 1"/>
          <p:cNvSpPr/>
          <p:nvPr/>
        </p:nvSpPr>
        <p:spPr bwMode="auto">
          <a:xfrm>
            <a:off x="554326" y="1641484"/>
            <a:ext cx="3014373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72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KI als Werkzeug</a:t>
            </a:r>
            <a:endParaRPr lang="de-DE">
              <a:latin typeface="Aptos"/>
            </a:endParaRPr>
          </a:p>
        </p:txBody>
      </p:sp>
      <p:sp>
        <p:nvSpPr>
          <p:cNvPr id="13" name="Shape 7"/>
          <p:cNvSpPr/>
          <p:nvPr/>
        </p:nvSpPr>
        <p:spPr bwMode="auto">
          <a:xfrm>
            <a:off x="554326" y="4621321"/>
            <a:ext cx="6377813" cy="1813833"/>
          </a:xfrm>
          <a:prstGeom prst="roundRect">
            <a:avLst>
              <a:gd name="adj" fmla="val 3946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Dialog gestalten</a:t>
            </a:r>
            <a:endParaRPr/>
          </a:p>
          <a:p>
            <a:pPr lvl="0">
              <a:buClr>
                <a:srgbClr val="DEC628"/>
              </a:buClr>
              <a:defRPr/>
            </a:pPr>
            <a:endParaRPr lang="de-DE"/>
          </a:p>
        </p:txBody>
      </p:sp>
      <p:sp>
        <p:nvSpPr>
          <p:cNvPr id="17" name="Shape 1"/>
          <p:cNvSpPr/>
          <p:nvPr/>
        </p:nvSpPr>
        <p:spPr bwMode="auto">
          <a:xfrm>
            <a:off x="3743232" y="1641484"/>
            <a:ext cx="3188218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Medienkompetenz fördern</a:t>
            </a:r>
            <a:endParaRPr lang="de-DE">
              <a:latin typeface="Aptos"/>
            </a:endParaRPr>
          </a:p>
        </p:txBody>
      </p:sp>
      <p:pic>
        <p:nvPicPr>
          <p:cNvPr id="20" name="Image 0" descr="preencoded.png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6995" b="6995"/>
          <a:stretch/>
        </p:blipFill>
        <p:spPr bwMode="auto">
          <a:prstGeom prst="rect">
            <a:avLst/>
          </a:prstGeom>
        </p:spPr>
      </p:pic>
      <p:pic>
        <p:nvPicPr>
          <p:cNvPr id="12" name="Grafik 11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14327" y="2174481"/>
            <a:ext cx="2106378" cy="2106378"/>
          </a:xfrm>
          <a:prstGeom prst="rect">
            <a:avLst/>
          </a:prstGeom>
        </p:spPr>
      </p:pic>
      <p:pic>
        <p:nvPicPr>
          <p:cNvPr id="14" name="Grafik 13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964117" y="2370263"/>
            <a:ext cx="1058737" cy="1058737"/>
          </a:xfrm>
          <a:prstGeom prst="rect">
            <a:avLst/>
          </a:prstGeom>
        </p:spPr>
      </p:pic>
      <p:pic>
        <p:nvPicPr>
          <p:cNvPr id="16" name="Grafik 15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243739" y="2899631"/>
            <a:ext cx="1175921" cy="1175921"/>
          </a:xfrm>
          <a:prstGeom prst="rect">
            <a:avLst/>
          </a:prstGeom>
        </p:spPr>
      </p:pic>
      <p:pic>
        <p:nvPicPr>
          <p:cNvPr id="19" name="Grafik 18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2400323" y="5202386"/>
            <a:ext cx="1072234" cy="1072234"/>
          </a:xfrm>
          <a:prstGeom prst="rect">
            <a:avLst/>
          </a:prstGeom>
        </p:spPr>
      </p:pic>
      <p:pic>
        <p:nvPicPr>
          <p:cNvPr id="21" name="Grafik 20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472557" y="5202387"/>
            <a:ext cx="1072233" cy="107223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Rechtliche Rahmenbedingungen</a:t>
            </a: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 dirty="0"/>
              <a:t>KI–Anwendungen</a:t>
            </a:r>
            <a:br>
              <a:rPr lang="de-DE" sz="4200" dirty="0"/>
            </a:br>
            <a:r>
              <a:rPr lang="de-DE" sz="4200" dirty="0"/>
              <a:t>in der Schule</a:t>
            </a:r>
            <a:endParaRPr dirty="0"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524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cs typeface="Segoe UI"/>
              </a:rPr>
              <a:t>Rechtliche Rahmenbedingung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</a:t>
            </a:r>
            <a:endParaRPr/>
          </a:p>
        </p:txBody>
      </p:sp>
      <p:sp>
        <p:nvSpPr>
          <p:cNvPr id="2" name="Rectangle 1"/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5696" y="1489663"/>
            <a:ext cx="11305730" cy="3749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und Schülerinnen und Schüler haben Grundkenntnisse zu KI (z. B. Fortbildung zu </a:t>
            </a:r>
            <a:r>
              <a:rPr lang="de-DE" b="0" i="0" u="none" strike="noStrike" cap="none" dirty="0" err="1">
                <a:ln>
                  <a:noFill/>
                </a:ln>
                <a:latin typeface="Aptos"/>
              </a:rPr>
              <a:t>ByLKI</a:t>
            </a:r>
            <a:r>
              <a:rPr lang="de-DE" b="0" i="0" u="none" strike="noStrike" cap="none" dirty="0">
                <a:ln>
                  <a:noFill/>
                </a:ln>
                <a:latin typeface="Aptos"/>
              </a:rPr>
              <a:t>, KI-Kompass), bevor sie KI-Systeme nutz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Nur datenschutzkonforme KI-Systeme werden eingesetz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s werden keine personenbezogenen Daten eingegeb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ingaben von Schülerinnen und Schülern werden nicht zum Training der KI verwende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KI-generierte Inhalte müssen immer gekennzeichnet werd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sowie Schülerinnen und Schüler prüfen KI-Inhalte auf Richtigkeit.</a:t>
            </a:r>
            <a:endParaRPr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auto">
          <a:xfrm>
            <a:off x="745068" y="1676900"/>
            <a:ext cx="7357740" cy="4091722"/>
          </a:xfrm>
        </p:spPr>
        <p:txBody>
          <a:bodyPr anchor="t"/>
          <a:lstStyle/>
          <a:p>
            <a:pPr algn="l">
              <a:defRPr/>
            </a:pPr>
            <a:r>
              <a:rPr lang="de-DE" sz="2400" dirty="0"/>
              <a:t>                 </a:t>
            </a:r>
            <a:endParaRPr dirty="0"/>
          </a:p>
          <a:p>
            <a:pPr algn="l">
              <a:defRPr/>
            </a:pPr>
            <a:r>
              <a:rPr lang="de-DE" sz="2400" b="1" dirty="0"/>
              <a:t>	    Rechtliche Rahmenbedingungen</a:t>
            </a:r>
            <a:endParaRPr lang="de-DE" sz="2400" dirty="0"/>
          </a:p>
          <a:p>
            <a:pPr algn="l">
              <a:defRPr/>
            </a:pPr>
            <a:r>
              <a:rPr lang="de-DE" sz="2400" dirty="0"/>
              <a:t>                 </a:t>
            </a:r>
            <a:r>
              <a:rPr lang="de-DE" sz="1800" dirty="0"/>
              <a:t>Urheberrecht, Altersgrenzen, Jugendschutz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600" dirty="0"/>
              <a:t>	      </a:t>
            </a:r>
            <a:r>
              <a:rPr lang="de-DE" sz="2400" b="1" dirty="0"/>
              <a:t>Schulische Rahmenbedingun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</a:t>
            </a:r>
            <a:r>
              <a:rPr lang="de-DE" sz="1800" dirty="0" err="1"/>
              <a:t>LehrplanPlus</a:t>
            </a:r>
            <a:r>
              <a:rPr lang="de-DE" sz="1800" dirty="0"/>
              <a:t>, Medienbildung, Didaktik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800" dirty="0"/>
              <a:t>	      </a:t>
            </a:r>
            <a:r>
              <a:rPr lang="de-DE" sz="2400" b="1" dirty="0"/>
              <a:t>Kritisches Hinterfra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 </a:t>
            </a:r>
            <a:r>
              <a:rPr lang="de-DE" sz="1800" dirty="0"/>
              <a:t>Richtigkeit, ethische Fragestellungen</a:t>
            </a:r>
            <a:endParaRPr lang="de-DE" sz="2400" b="1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Verwendung von KI-basierten System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 – Rechtliche Rahmenbedingungen</a:t>
            </a:r>
            <a:endParaRPr/>
          </a:p>
        </p:txBody>
      </p:sp>
      <p:pic>
        <p:nvPicPr>
          <p:cNvPr id="3" name="Grafik 2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95882" y="1801276"/>
            <a:ext cx="963735" cy="963735"/>
          </a:xfrm>
          <a:prstGeom prst="rect">
            <a:avLst/>
          </a:prstGeom>
        </p:spPr>
      </p:pic>
      <p:pic>
        <p:nvPicPr>
          <p:cNvPr id="7" name="Grafik 6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5882" y="3075204"/>
            <a:ext cx="898116" cy="898116"/>
          </a:xfrm>
          <a:prstGeom prst="rect">
            <a:avLst/>
          </a:prstGeom>
        </p:spPr>
      </p:pic>
      <p:pic>
        <p:nvPicPr>
          <p:cNvPr id="8" name="Grafik 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095882" y="4305421"/>
            <a:ext cx="898116" cy="898116"/>
          </a:xfrm>
          <a:prstGeom prst="rect">
            <a:avLst/>
          </a:prstGeom>
        </p:spPr>
      </p:pic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8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445281" y="3973321"/>
            <a:ext cx="3403504" cy="2269002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1" y="526622"/>
            <a:ext cx="7319923" cy="1938992"/>
          </a:xfrm>
        </p:spPr>
        <p:txBody>
          <a:bodyPr/>
          <a:lstStyle/>
          <a:p>
            <a:pPr>
              <a:defRPr/>
            </a:pPr>
            <a:r>
              <a:rPr lang="de-DE" sz="4200" dirty="0"/>
              <a:t>Chancen von</a:t>
            </a:r>
            <a:br>
              <a:rPr lang="de-DE" sz="4200" dirty="0"/>
            </a:br>
            <a:r>
              <a:rPr lang="de-DE" sz="4200" dirty="0"/>
              <a:t>KI–Anwendungen</a:t>
            </a:r>
            <a:br>
              <a:rPr lang="de-DE" sz="4200" dirty="0"/>
            </a:br>
            <a:r>
              <a:rPr lang="de-DE" sz="4200" dirty="0"/>
              <a:t>in der Schule</a:t>
            </a:r>
            <a:endParaRPr dirty="0"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59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455674" y="952885"/>
            <a:ext cx="10617754" cy="853799"/>
          </a:xfrm>
        </p:spPr>
        <p:txBody>
          <a:bodyPr/>
          <a:lstStyle/>
          <a:p>
            <a:pPr>
              <a:defRPr/>
            </a:pPr>
            <a:r>
              <a:rPr lang="de-DE"/>
              <a:t>Welche Chancen bieten KI-Anwendungen im Unterricht?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8444" y="2943416"/>
            <a:ext cx="10743873" cy="3000353"/>
          </a:xfrm>
        </p:spPr>
        <p:txBody>
          <a:bodyPr/>
          <a:lstStyle/>
          <a:p>
            <a:pPr>
              <a:defRPr/>
            </a:pPr>
            <a:r>
              <a:rPr lang="de-DE" sz="2400"/>
              <a:t>zur Lernunterstützung durch gestufte Hilfen</a:t>
            </a:r>
            <a:endParaRPr/>
          </a:p>
          <a:p>
            <a:pPr>
              <a:defRPr/>
            </a:pPr>
            <a:r>
              <a:rPr lang="de-DE" sz="2400"/>
              <a:t>zur gezielten Förderung/Differenzierung</a:t>
            </a:r>
            <a:endParaRPr/>
          </a:p>
          <a:p>
            <a:pPr>
              <a:defRPr/>
            </a:pPr>
            <a:r>
              <a:rPr lang="de-DE" sz="2400"/>
              <a:t>für Hilfestellungen in kreativen Aufgaben</a:t>
            </a:r>
            <a:endParaRPr/>
          </a:p>
          <a:p>
            <a:pPr>
              <a:defRPr/>
            </a:pPr>
            <a:r>
              <a:rPr lang="de-DE" sz="2400"/>
              <a:t>zur Erstellung von multimedialen Inhalten (Podcast, Hörspiel)</a:t>
            </a:r>
            <a:endParaRPr/>
          </a:p>
          <a:p>
            <a:pPr>
              <a:defRPr/>
            </a:pPr>
            <a:r>
              <a:rPr lang="de-DE" sz="2400"/>
              <a:t>als Unterstützung bei der Erstellung von Unterrichtsmaterialien</a:t>
            </a:r>
            <a:endParaRPr/>
          </a:p>
          <a:p>
            <a:pPr>
              <a:defRPr/>
            </a:pPr>
            <a:r>
              <a:rPr lang="de-DE" sz="2400"/>
              <a:t>als organisatorische Hilfe (Planung, Formulierung, etc.)</a:t>
            </a:r>
            <a:endParaRPr lang="de-DE"/>
          </a:p>
          <a:p>
            <a:pPr marL="0" indent="0">
              <a:buNone/>
              <a:defRPr/>
            </a:pPr>
            <a:endParaRPr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6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18" name="Textfeld 17"/>
          <p:cNvSpPr txBox="1"/>
          <p:nvPr/>
        </p:nvSpPr>
        <p:spPr bwMode="auto">
          <a:xfrm>
            <a:off x="455674" y="2116377"/>
            <a:ext cx="6470066" cy="457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400">
                <a:latin typeface="Aptos"/>
              </a:rPr>
              <a:t>KI-Anwendungen können eingesetzt werden…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31460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1231092"/>
            <a:ext cx="9211612" cy="427079"/>
          </a:xfrm>
        </p:spPr>
        <p:txBody>
          <a:bodyPr/>
          <a:lstStyle/>
          <a:p>
            <a:pPr>
              <a:defRPr/>
            </a:pPr>
            <a:r>
              <a:rPr lang="de-DE"/>
              <a:t>Ganz besonders wichtig ist uns: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7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29" name="Textplatzhalter 3"/>
          <p:cNvSpPr txBox="1"/>
          <p:nvPr/>
        </p:nvSpPr>
        <p:spPr bwMode="auto">
          <a:xfrm>
            <a:off x="3458817" y="2377551"/>
            <a:ext cx="7344299" cy="3249357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In der Schule werden nur KI-Anwendungen eingesetzt, die </a:t>
            </a:r>
            <a:r>
              <a:rPr lang="de-DE" sz="2400" b="1">
                <a:solidFill>
                  <a:srgbClr val="C00000"/>
                </a:solidFill>
              </a:rPr>
              <a:t>geprüft </a:t>
            </a:r>
            <a:r>
              <a:rPr lang="de-DE" sz="2400">
                <a:solidFill>
                  <a:srgbClr val="C00000"/>
                </a:solidFill>
              </a:rPr>
              <a:t>und für den Einsatz in der Schule </a:t>
            </a:r>
            <a:r>
              <a:rPr lang="de-DE" sz="2400" b="1">
                <a:solidFill>
                  <a:srgbClr val="C00000"/>
                </a:solidFill>
              </a:rPr>
              <a:t>freigegeben </a:t>
            </a:r>
            <a:r>
              <a:rPr lang="de-DE" sz="2400">
                <a:solidFill>
                  <a:srgbClr val="C00000"/>
                </a:solidFill>
              </a:rPr>
              <a:t>sind.</a:t>
            </a:r>
            <a:endParaRPr sz="2400"/>
          </a:p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Die </a:t>
            </a:r>
            <a:r>
              <a:rPr lang="de-DE" sz="2400" b="1">
                <a:solidFill>
                  <a:srgbClr val="C00000"/>
                </a:solidFill>
              </a:rPr>
              <a:t>Lehrkraft </a:t>
            </a:r>
            <a:r>
              <a:rPr lang="de-DE" sz="2400">
                <a:solidFill>
                  <a:srgbClr val="C00000"/>
                </a:solidFill>
              </a:rPr>
              <a:t>hat weiterhin die zentrale Rolle bei der Förderung der Schülerinnen und Schüler. KI-Anwendungen werden zur </a:t>
            </a:r>
            <a:r>
              <a:rPr lang="de-DE" sz="2400" b="1">
                <a:solidFill>
                  <a:srgbClr val="C00000"/>
                </a:solidFill>
              </a:rPr>
              <a:t>Unterstützung </a:t>
            </a:r>
            <a:r>
              <a:rPr lang="de-DE" sz="2400">
                <a:solidFill>
                  <a:srgbClr val="C00000"/>
                </a:solidFill>
              </a:rPr>
              <a:t>des Lernens eingesetzt.</a:t>
            </a:r>
            <a:endParaRPr sz="2400"/>
          </a:p>
          <a:p>
            <a:pPr>
              <a:defRPr/>
            </a:pPr>
            <a:endParaRPr lang="de-DE" sz="2400">
              <a:solidFill>
                <a:srgbClr val="C00000"/>
              </a:solidFill>
            </a:endParaRPr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</p:txBody>
      </p:sp>
      <p:pic>
        <p:nvPicPr>
          <p:cNvPr id="30" name="Grafik 29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88882" y="2656984"/>
            <a:ext cx="1711145" cy="17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9664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6" y="731606"/>
            <a:ext cx="9548173" cy="853799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Grundschul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3466" y="3714285"/>
            <a:ext cx="2975566" cy="2611588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lösen in kleinen Schritten die Aufgab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8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9898414" y="6475333"/>
            <a:ext cx="1739259" cy="200685"/>
            <a:chOff x="9898414" y="6475333"/>
            <a:chExt cx="173925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9898414" y="6552907"/>
              <a:ext cx="173925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5.06.2025 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rcRect t="7647" b="4430"/>
          <a:stretch/>
        </p:blipFill>
        <p:spPr bwMode="auto">
          <a:xfrm>
            <a:off x="1179075" y="1640363"/>
            <a:ext cx="1703663" cy="2246803"/>
          </a:xfrm>
          <a:prstGeom prst="flowChartAlternateProcess">
            <a:avLst/>
          </a:prstGeom>
        </p:spPr>
      </p:pic>
      <p:sp>
        <p:nvSpPr>
          <p:cNvPr id="15" name="Textfeld 14"/>
          <p:cNvSpPr txBox="1"/>
          <p:nvPr/>
        </p:nvSpPr>
        <p:spPr bwMode="auto">
          <a:xfrm rot="11660252">
            <a:off x="1454567" y="3257545"/>
            <a:ext cx="510219" cy="32291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36:8=42</a:t>
            </a:r>
            <a:endParaRPr/>
          </a:p>
          <a:p>
            <a:pPr>
              <a:defRPr/>
            </a:pPr>
            <a:r>
              <a:rPr sz="600"/>
              <a:t>320:8=40</a:t>
            </a:r>
            <a:endParaRPr/>
          </a:p>
          <a:p>
            <a:pPr>
              <a:defRPr/>
            </a:pPr>
            <a:r>
              <a:rPr sz="600"/>
              <a:t>  16:8=  2</a:t>
            </a:r>
            <a:endParaRPr/>
          </a:p>
        </p:txBody>
      </p:sp>
      <p:sp>
        <p:nvSpPr>
          <p:cNvPr id="16" name="Textfeld 15"/>
          <p:cNvSpPr txBox="1"/>
          <p:nvPr/>
        </p:nvSpPr>
        <p:spPr bwMode="auto">
          <a:xfrm rot="11718693">
            <a:off x="1906790" y="3312243"/>
            <a:ext cx="444125" cy="32291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78:7=54</a:t>
            </a:r>
            <a:endParaRPr/>
          </a:p>
          <a:p>
            <a:pPr>
              <a:defRPr/>
            </a:pPr>
            <a:r>
              <a:rPr sz="600"/>
              <a:t>350:7=50</a:t>
            </a:r>
            <a:endParaRPr/>
          </a:p>
          <a:p>
            <a:pPr>
              <a:defRPr/>
            </a:pPr>
            <a:r>
              <a:rPr sz="600"/>
              <a:t>  28:7=  4</a:t>
            </a:r>
            <a:endParaRPr sz="2400"/>
          </a:p>
        </p:txBody>
      </p:sp>
      <p:sp>
        <p:nvSpPr>
          <p:cNvPr id="27" name="Textplatzhalter 3"/>
          <p:cNvSpPr txBox="1"/>
          <p:nvPr/>
        </p:nvSpPr>
        <p:spPr bwMode="auto">
          <a:xfrm>
            <a:off x="7981920" y="3768043"/>
            <a:ext cx="3655753" cy="261158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Werkzeuge können die Schülerinnen und Schüler beim Schreibenlernen unterstützen durch Auswahl geeigneter Übungsformen und direktes Feedback. </a:t>
            </a:r>
            <a:endParaRPr/>
          </a:p>
          <a:p>
            <a:pPr marL="0" indent="0">
              <a:buFont typeface="Arial"/>
              <a:buNone/>
              <a:defRPr/>
            </a:pPr>
            <a:r>
              <a:rPr lang="de-DE" sz="1600"/>
              <a:t>Spezielle KI-gestützte Stifte helfen beim Erlernen einer  entspannten Stifthaltun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154641" y="3750233"/>
            <a:ext cx="3198267" cy="2611588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Anwendungen können die Schülerinnen und Schüler beim Lesenlernen unterstützen durch Hilfestellungen und Training der Leseflüssigkei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5004" y="1675081"/>
            <a:ext cx="1510344" cy="2265517"/>
          </a:xfrm>
          <a:prstGeom prst="flowChartAlternateProcess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895909" y="1640363"/>
            <a:ext cx="1558159" cy="2337237"/>
          </a:xfrm>
          <a:prstGeom prst="flowChartAlternateProcess">
            <a:avLst/>
          </a:prstGeom>
        </p:spPr>
      </p:pic>
    </p:spTree>
    <p:extLst>
      <p:ext uri="{BB962C8B-B14F-4D97-AF65-F5344CB8AC3E}">
        <p14:creationId xmlns:p14="http://schemas.microsoft.com/office/powerpoint/2010/main" val="2549495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751043"/>
            <a:ext cx="10288559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Sekundarstuf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734327" y="3730891"/>
            <a:ext cx="3240000" cy="2915281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können in kleinen Schritten die Aufgaben lös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9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775219" y="3329848"/>
            <a:ext cx="1027524" cy="262240"/>
            <a:chOff x="10610149" y="6475333"/>
            <a:chExt cx="1027524" cy="262240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610149" y="6491352"/>
              <a:ext cx="1027524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6.06.2025 </a:t>
              </a:r>
              <a:endParaRPr/>
            </a:p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platzhalter 3"/>
          <p:cNvSpPr txBox="1"/>
          <p:nvPr/>
        </p:nvSpPr>
        <p:spPr bwMode="auto">
          <a:xfrm>
            <a:off x="7955884" y="3760736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600"/>
              <a:t>Die Lernenden können selbst verfasste Texte  mit KI-Anwendungen hinsichtlich Rechtschreibung, Grammatik, Satzbau und Ausdruck verbesser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 personalisierte  Feedback verbessern sie ihre Schreibkompetenzen. 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324612" y="3733083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Interaktive KI-Anwendungen unterstützen Schülerinnen und Schüler beim Erlernen von Fremdsprache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KI-System werden die Inhalte an den Lernstand, das Interesse und den Zeitplan des Lernenden angepass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9" name="Grafik 8" descr="Ein Bild, das Zeichnung, Menschliches Gesicht, Entwurf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608213" y="1656697"/>
            <a:ext cx="1492228" cy="2238341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8" name="Grafik 17" descr="Ein Bild, das Entwurf, Zeichnung, Kinderkunst, Darstellung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876319" y="1640364"/>
            <a:ext cx="1492227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1" name="Grafik 20" descr="Ein Bild, das Büroausstattung, Schreibwaren, Werkzeug, Bürobedarf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 rot="3350465">
            <a:off x="10127223" y="3371396"/>
            <a:ext cx="282832" cy="424249"/>
          </a:xfrm>
          <a:prstGeom prst="rect">
            <a:avLst/>
          </a:prstGeom>
        </p:spPr>
      </p:pic>
      <p:pic>
        <p:nvPicPr>
          <p:cNvPr id="37" name="Grafik 36" descr="Ein Bild, das Zeichnung, Computer, Cartoon, computer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806292" y="1640364"/>
            <a:ext cx="2238340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64234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WAS IST KI UND WIE FUNKTIONIERT SIE?</a:t>
            </a:r>
            <a:endParaRPr/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 dirty="0">
                  <a:solidFill>
                    <a:srgbClr val="DEC628"/>
                  </a:solidFill>
                  <a:latin typeface="Aptos"/>
                </a:rPr>
                <a:t>Ein Junge lernt mit KI am Computer – erstellt mit </a:t>
              </a:r>
              <a:r>
                <a:rPr lang="de-DE" dirty="0" err="1">
                  <a:solidFill>
                    <a:srgbClr val="DEC628"/>
                  </a:solidFill>
                  <a:latin typeface="Aptos"/>
                </a:rPr>
                <a:t>ChatGPT</a:t>
              </a:r>
              <a:r>
                <a:rPr lang="de-DE" dirty="0">
                  <a:solidFill>
                    <a:srgbClr val="DEC628"/>
                  </a:solidFill>
                  <a:latin typeface="Aptos"/>
                </a:rPr>
                <a:t> 4.o am 05.06.2025</a:t>
              </a:r>
              <a:endParaRPr dirty="0"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/>
              <a:t>Künstliche Intelligenz – Eine Einführung</a:t>
            </a:r>
            <a:endParaRPr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809348"/>
            <a:ext cx="9850885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Erstellung von multimedialen Inhalten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183581" cy="4637603"/>
          </a:xfrm>
        </p:spPr>
        <p:txBody>
          <a:bodyPr lIns="180000" tIns="180000" rIns="180000" bIns="180000"/>
          <a:lstStyle/>
          <a:p>
            <a:pPr marL="0" indent="0">
              <a:lnSpc>
                <a:spcPct val="100000"/>
              </a:lnSpc>
              <a:buNone/>
              <a:defRPr/>
            </a:pPr>
            <a:r>
              <a:rPr lang="de-DE" b="1"/>
              <a:t>Podcast: 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/>
              <a:t>Die Schülerinnen und Schüler erstellen im Rahmen der Verfassungsviertelstunde kurze Texte zu den im Grundgesetz verankerten Grundrechten und ihrer Bedeutung für den Alltag in der Schule …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/>
              <a:t>Die Schülerinnen und Schüler oder die Lehrkraft erstellen daraus mit Hilfe eines passenden KI-Werkzeugs einen Podcast …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/>
              <a:t>Hier ein Beispiel … 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20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 descr="Ein Bild, das Muster, Quadrat, Pixel, Kreuzworträtsel enthält.&#10;&#10;KI-generierte Inhalte können fehlerhaft sein.">
            <a:hlinkClick r:id="rId4"/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89819" y="4993677"/>
            <a:ext cx="1054975" cy="1054975"/>
          </a:xfrm>
          <a:prstGeom prst="rect">
            <a:avLst/>
          </a:prstGeom>
        </p:spPr>
      </p:pic>
      <p:sp>
        <p:nvSpPr>
          <p:cNvPr id="15" name="Textplatzhalter 3"/>
          <p:cNvSpPr txBox="1"/>
          <p:nvPr/>
        </p:nvSpPr>
        <p:spPr bwMode="auto">
          <a:xfrm>
            <a:off x="6274092" y="1671122"/>
            <a:ext cx="5183581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/>
              <a:buNone/>
              <a:defRPr/>
            </a:pPr>
            <a:r>
              <a:rPr lang="de-DE" b="1" dirty="0"/>
              <a:t>Hörspiel: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ie Schülerinnen und Schüler erstellen im Deutschunterricht mit Hilfe von KI ein Drehbuch für ein Hörspiel mit genauen Angaben zu den Dialogen, Geräuschen und Musikeinspielungen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ann sprechen die Schülerinnen und Schüler die Dialoge ein, nehmen die Geräusche und die Musik auf und mischen ihr Hörspiel ab.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buFont typeface="Arial"/>
              <a:buNone/>
              <a:defRPr/>
            </a:pPr>
            <a:endParaRPr lang="de-DE" dirty="0"/>
          </a:p>
        </p:txBody>
      </p:sp>
      <p:sp>
        <p:nvSpPr>
          <p:cNvPr id="5" name="Foliennummernplatzhalter 5"/>
          <p:cNvSpPr txBox="1"/>
          <p:nvPr/>
        </p:nvSpPr>
        <p:spPr bwMode="auto">
          <a:xfrm>
            <a:off x="3248666" y="6109187"/>
            <a:ext cx="1537280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chemeClr val="tx1"/>
                </a:solidFill>
              </a:rPr>
              <a:t>erstellt am 04.06.2025 mit FOBIZZ</a:t>
            </a:r>
            <a:endParaRPr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942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weitere Materiali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1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grpSp>
        <p:nvGrpSpPr>
          <p:cNvPr id="2" name="Gruppieren 1"/>
          <p:cNvGrpSpPr/>
          <p:nvPr/>
        </p:nvGrpSpPr>
        <p:grpSpPr bwMode="auto">
          <a:xfrm>
            <a:off x="610194" y="1666874"/>
            <a:ext cx="2578982" cy="2182812"/>
            <a:chOff x="0" y="0"/>
            <a:chExt cx="2578982" cy="2182812"/>
          </a:xfrm>
        </p:grpSpPr>
        <p:sp>
          <p:nvSpPr>
            <p:cNvPr id="5" name="Oval 4"/>
            <p:cNvSpPr/>
            <p:nvPr/>
          </p:nvSpPr>
          <p:spPr bwMode="auto">
            <a:xfrm>
              <a:off x="0" y="0"/>
              <a:ext cx="2182812" cy="21828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6" name="Textfeld 5"/>
            <p:cNvSpPr txBox="1"/>
            <p:nvPr/>
          </p:nvSpPr>
          <p:spPr bwMode="auto">
            <a:xfrm>
              <a:off x="521913" y="218280"/>
              <a:ext cx="205706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3" tooltip="https://www.klicksafe.de/kuenstliche-intelligenz"/>
                </a:rPr>
                <a:t>Klicksafe</a:t>
              </a:r>
              <a:endParaRPr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61367" y="634999"/>
              <a:ext cx="1260078" cy="1260078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 bwMode="auto">
          <a:xfrm>
            <a:off x="2839223" y="3695656"/>
            <a:ext cx="2321718" cy="2321718"/>
            <a:chOff x="0" y="0"/>
            <a:chExt cx="2321718" cy="2321718"/>
          </a:xfrm>
        </p:grpSpPr>
        <p:sp>
          <p:nvSpPr>
            <p:cNvPr id="15" name="Oval 14"/>
            <p:cNvSpPr/>
            <p:nvPr/>
          </p:nvSpPr>
          <p:spPr bwMode="auto">
            <a:xfrm>
              <a:off x="0" y="0"/>
              <a:ext cx="2321718" cy="232171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6" name="Textfeld 15"/>
            <p:cNvSpPr txBox="1"/>
            <p:nvPr/>
          </p:nvSpPr>
          <p:spPr bwMode="auto">
            <a:xfrm>
              <a:off x="257618" y="327422"/>
              <a:ext cx="1995016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sz="1600" u="sng">
                  <a:hlinkClick r:id="rId5" tooltip="https://www.km.bayern.de/gestalten/digitalisierung/kuenstliche-intelligenz"/>
                </a:rPr>
                <a:t>Kultusministerium</a:t>
              </a:r>
              <a:endParaRPr sz="1600"/>
            </a:p>
          </p:txBody>
        </p:sp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486171" y="693541"/>
              <a:ext cx="1349374" cy="1349374"/>
            </a:xfrm>
            <a:prstGeom prst="rect">
              <a:avLst/>
            </a:prstGeom>
          </p:spPr>
        </p:pic>
      </p:grpSp>
      <p:grpSp>
        <p:nvGrpSpPr>
          <p:cNvPr id="21" name="Gruppieren 20"/>
          <p:cNvGrpSpPr/>
          <p:nvPr/>
        </p:nvGrpSpPr>
        <p:grpSpPr bwMode="auto">
          <a:xfrm>
            <a:off x="5391985" y="1330139"/>
            <a:ext cx="2311796" cy="2311796"/>
            <a:chOff x="0" y="0"/>
            <a:chExt cx="2311796" cy="2311796"/>
          </a:xfrm>
        </p:grpSpPr>
        <p:sp>
          <p:nvSpPr>
            <p:cNvPr id="22" name="Oval 21"/>
            <p:cNvSpPr/>
            <p:nvPr/>
          </p:nvSpPr>
          <p:spPr bwMode="auto">
            <a:xfrm>
              <a:off x="0" y="0"/>
              <a:ext cx="2311796" cy="2311796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3" name="Textfeld 22"/>
            <p:cNvSpPr txBox="1"/>
            <p:nvPr/>
          </p:nvSpPr>
          <p:spPr bwMode="auto">
            <a:xfrm>
              <a:off x="496093" y="282773"/>
              <a:ext cx="1351623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7" tooltip="https://www.fragzebra.de/themenwelt/k%C3%BCnstliche-intelligenz"/>
                </a:rPr>
                <a:t>FragZebra</a:t>
              </a:r>
              <a:endParaRPr/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496093" y="669726"/>
              <a:ext cx="1319609" cy="1319609"/>
            </a:xfrm>
            <a:prstGeom prst="rect">
              <a:avLst/>
            </a:prstGeom>
          </p:spPr>
        </p:pic>
      </p:grpSp>
      <p:grpSp>
        <p:nvGrpSpPr>
          <p:cNvPr id="25" name="Gruppieren 24"/>
          <p:cNvGrpSpPr/>
          <p:nvPr/>
        </p:nvGrpSpPr>
        <p:grpSpPr bwMode="auto">
          <a:xfrm>
            <a:off x="7952933" y="2823026"/>
            <a:ext cx="2450702" cy="2450702"/>
            <a:chOff x="0" y="0"/>
            <a:chExt cx="2450702" cy="2450702"/>
          </a:xfrm>
        </p:grpSpPr>
        <p:sp>
          <p:nvSpPr>
            <p:cNvPr id="26" name="Oval 25"/>
            <p:cNvSpPr/>
            <p:nvPr/>
          </p:nvSpPr>
          <p:spPr bwMode="auto">
            <a:xfrm>
              <a:off x="0" y="0"/>
              <a:ext cx="2450702" cy="245070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7" name="Textfeld 26"/>
            <p:cNvSpPr txBox="1"/>
            <p:nvPr/>
          </p:nvSpPr>
          <p:spPr bwMode="auto">
            <a:xfrm>
              <a:off x="355722" y="307577"/>
              <a:ext cx="184582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lang="de-DE" sz="1800" b="0" i="0" u="sng" strike="noStrike" cap="none" spc="0">
                  <a:solidFill>
                    <a:schemeClr val="tx1"/>
                  </a:solidFill>
                  <a:latin typeface="Arial"/>
                  <a:ea typeface="Arial"/>
                  <a:cs typeface="Arial"/>
                  <a:hlinkClick r:id="rId9" tooltip="https://www.ardaudiothek.de/sendung/der-ki-podcast/94632864/"/>
                </a:rPr>
                <a:t>Der KI-Podcast</a:t>
              </a:r>
              <a:endParaRPr/>
            </a:p>
          </p:txBody>
        </p:sp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10"/>
            <a:stretch/>
          </p:blipFill>
          <p:spPr bwMode="auto">
            <a:xfrm>
              <a:off x="572988" y="728763"/>
              <a:ext cx="1304726" cy="13047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52115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….bei der Nutzung von KI-Anwendungen in der Schule</a:t>
            </a: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/>
              <a:t>Unterstützung </a:t>
            </a:r>
            <a:r>
              <a:rPr lang="de-DE" sz="4200" dirty="0"/>
              <a:t>im häuslichen </a:t>
            </a:r>
            <a:r>
              <a:rPr lang="de-DE" sz="4200" dirty="0" err="1"/>
              <a:t>bereich</a:t>
            </a:r>
            <a:r>
              <a:rPr lang="de-DE" sz="4200" dirty="0"/>
              <a:t> …</a:t>
            </a:r>
            <a:endParaRPr dirty="0"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7006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780608"/>
            <a:ext cx="9572704" cy="369332"/>
          </a:xfrm>
        </p:spPr>
        <p:txBody>
          <a:bodyPr/>
          <a:lstStyle/>
          <a:p>
            <a:pPr>
              <a:defRPr/>
            </a:pPr>
            <a:r>
              <a:rPr lang="de-DE" sz="2400"/>
              <a:t>Wichtige fragen zum Umgang mit ki-Anwendungen zu hause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46492"/>
            <a:ext cx="5535486" cy="4906415"/>
          </a:xfrm>
        </p:spPr>
        <p:txBody>
          <a:bodyPr/>
          <a:lstStyle/>
          <a:p>
            <a:pPr>
              <a:defRPr/>
            </a:pPr>
            <a:r>
              <a:rPr lang="de-DE" dirty="0"/>
              <a:t>Wie kann ich mein Kind unterstützen?</a:t>
            </a:r>
            <a:endParaRPr dirty="0"/>
          </a:p>
          <a:p>
            <a:pPr>
              <a:defRPr/>
            </a:pPr>
            <a:r>
              <a:rPr lang="de-DE" dirty="0"/>
              <a:t>Macht mein Kind seine Hausaufgaben jetzt nur noch mit KI-Anwendungen? </a:t>
            </a:r>
            <a:endParaRPr dirty="0"/>
          </a:p>
          <a:p>
            <a:pPr>
              <a:defRPr/>
            </a:pPr>
            <a:r>
              <a:rPr lang="de-DE" dirty="0"/>
              <a:t>Lernt mein Kind dann überhaupt noch etwas eigenständig?</a:t>
            </a:r>
            <a:endParaRPr dirty="0"/>
          </a:p>
          <a:p>
            <a:pPr>
              <a:defRPr/>
            </a:pPr>
            <a:r>
              <a:rPr lang="de-DE" dirty="0"/>
              <a:t>Welche KI-Anwendungen sollen wir verwenden?</a:t>
            </a:r>
            <a:endParaRPr dirty="0"/>
          </a:p>
          <a:p>
            <a:pPr>
              <a:defRPr/>
            </a:pPr>
            <a:r>
              <a:rPr lang="de-DE" dirty="0"/>
              <a:t>Gibt es bestimmte Regeln?</a:t>
            </a:r>
            <a:endParaRPr dirty="0"/>
          </a:p>
          <a:p>
            <a:pPr marL="0" indent="0">
              <a:buNone/>
              <a:defRPr/>
            </a:pPr>
            <a:r>
              <a:rPr lang="de-DE" b="1" dirty="0"/>
              <a:t>Vielleicht haben Sie genau diese oder noch weitere Fragen…?</a:t>
            </a:r>
            <a:endParaRPr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5286681" y="4636662"/>
            <a:ext cx="439674" cy="982271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5524961" y="5371980"/>
            <a:ext cx="381024" cy="806400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23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1">
            <a:off x="9359432" y="3277181"/>
            <a:ext cx="2352074" cy="2352074"/>
          </a:xfrm>
          <a:prstGeom prst="rect">
            <a:avLst/>
          </a:prstGeom>
        </p:spPr>
      </p:pic>
      <p:cxnSp>
        <p:nvCxnSpPr>
          <p:cNvPr id="12" name="Gerader Verbinder 14"/>
          <p:cNvCxnSpPr>
            <a:cxnSpLocks/>
          </p:cNvCxnSpPr>
          <p:nvPr/>
        </p:nvCxnSpPr>
        <p:spPr bwMode="auto">
          <a:xfrm>
            <a:off x="11457673" y="6475333"/>
            <a:ext cx="35251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/>
          <p:cNvGrpSpPr/>
          <p:nvPr/>
        </p:nvGrpSpPr>
        <p:grpSpPr bwMode="auto">
          <a:xfrm>
            <a:off x="6363839" y="2532669"/>
            <a:ext cx="2995594" cy="1437010"/>
            <a:chOff x="6631678" y="1841440"/>
            <a:chExt cx="2995594" cy="1437010"/>
          </a:xfrm>
        </p:grpSpPr>
        <p:sp>
          <p:nvSpPr>
            <p:cNvPr id="13" name="Abgerundete rechteckige Legende 12"/>
            <p:cNvSpPr/>
            <p:nvPr/>
          </p:nvSpPr>
          <p:spPr bwMode="auto">
            <a:xfrm>
              <a:off x="6631678" y="1841440"/>
              <a:ext cx="2995594" cy="1437010"/>
            </a:xfrm>
            <a:prstGeom prst="wedgeRoundRectCallout">
              <a:avLst>
                <a:gd name="adj1" fmla="val 61044"/>
                <a:gd name="adj2" fmla="val -6622"/>
                <a:gd name="adj3" fmla="val 16667"/>
              </a:avLst>
            </a:prstGeom>
            <a:solidFill>
              <a:srgbClr val="FFFF99"/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Textfeld 13"/>
            <p:cNvSpPr txBox="1"/>
            <p:nvPr/>
          </p:nvSpPr>
          <p:spPr bwMode="auto">
            <a:xfrm>
              <a:off x="6798899" y="1893455"/>
              <a:ext cx="266115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de-DE" sz="2800" b="1">
                  <a:latin typeface="Ink Free"/>
                </a:rPr>
                <a:t>,,Wir arbeiten jetzt mit KI in der Schule!“</a:t>
              </a:r>
              <a:endParaRPr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17" name="Foliennummernplatzhalter 5"/>
          <p:cNvSpPr txBox="1"/>
          <p:nvPr/>
        </p:nvSpPr>
        <p:spPr bwMode="auto">
          <a:xfrm>
            <a:off x="10398297" y="5869416"/>
            <a:ext cx="1540486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5.6.2025 mit ChatGPT4</a:t>
            </a:r>
            <a:endParaRPr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5 Tipps für sie als erziehungsberechtigte: 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1. Interesse zeigen / Neugier fördern und im Gespräch bleiben 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2. Selbst inform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3. Ggf. externe Hilfe such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4. Gemeinsam Regeln aufstellen &amp; visualis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5. Begleiten – aber auch vertrauen (Bewusst machen der Risiken &amp;  zu kreativem und kompetentem Gebrauch ermutigen)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24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786498" cy="463760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sz="2400" b="1"/>
              <a:t>Diese Fragen können helfen:</a:t>
            </a:r>
            <a:endParaRPr lang="de-DE" sz="2400"/>
          </a:p>
          <a:p>
            <a:pPr>
              <a:defRPr/>
            </a:pPr>
            <a:r>
              <a:rPr lang="de-DE"/>
              <a:t>Wie habt ihr das in der Schule gemacht?</a:t>
            </a:r>
            <a:endParaRPr/>
          </a:p>
          <a:p>
            <a:pPr>
              <a:defRPr/>
            </a:pPr>
            <a:r>
              <a:rPr lang="de-DE"/>
              <a:t>Welche KI-Anwendungen habt ihr verwendet?</a:t>
            </a:r>
            <a:endParaRPr/>
          </a:p>
          <a:p>
            <a:pPr>
              <a:defRPr/>
            </a:pPr>
            <a:r>
              <a:rPr lang="de-DE"/>
              <a:t>Was habt ihr damit ausprobiert?</a:t>
            </a:r>
            <a:endParaRPr/>
          </a:p>
          <a:p>
            <a:pPr>
              <a:defRPr/>
            </a:pPr>
            <a:r>
              <a:rPr lang="de-DE"/>
              <a:t>Schauen wir es uns zusammen noch einmal an?</a:t>
            </a:r>
            <a:endParaRPr/>
          </a:p>
          <a:p>
            <a:pPr marL="0" indent="0">
              <a:buNone/>
              <a:defRPr/>
            </a:pPr>
            <a:r>
              <a:rPr lang="de-DE" b="1"/>
              <a:t>Wir informieren uns gemeinsam als Familie!</a:t>
            </a:r>
            <a:endParaRPr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5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pic>
        <p:nvPicPr>
          <p:cNvPr id="9" name="Grafik 8" descr="Ein Bild, das Animierter Cartoon, Animation, Darstellung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771708" y="2372139"/>
            <a:ext cx="4697679" cy="3131786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>
          <a:xfrm>
            <a:off x="568018" y="53875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6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auto">
          <a:xfrm>
            <a:off x="546629" y="2906464"/>
            <a:ext cx="3378323" cy="615553"/>
          </a:xfrm>
        </p:spPr>
        <p:txBody>
          <a:bodyPr/>
          <a:lstStyle/>
          <a:p>
            <a:pPr>
              <a:defRPr/>
            </a:pPr>
            <a:r>
              <a:rPr lang="de-DE"/>
              <a:t>Suchfunktionen / Auto-Vervollständigungen</a:t>
            </a:r>
            <a:endParaRPr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 bwMode="auto">
          <a:xfrm>
            <a:off x="550862" y="4075181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Kamera &amp; Fotos</a:t>
            </a:r>
            <a:endParaRPr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 bwMode="auto">
          <a:xfrm>
            <a:off x="554327" y="5243899"/>
            <a:ext cx="4000625" cy="307777"/>
          </a:xfrm>
        </p:spPr>
        <p:txBody>
          <a:bodyPr/>
          <a:lstStyle/>
          <a:p>
            <a:pPr>
              <a:defRPr/>
            </a:pPr>
            <a:r>
              <a:rPr lang="de-DE"/>
              <a:t>Sprachassistenten</a:t>
            </a:r>
            <a:endParaRPr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usik- &amp; Videoempfehlungen</a:t>
            </a:r>
            <a:endParaRPr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4"/>
          </p:nvPr>
        </p:nvSpPr>
        <p:spPr bwMode="auto">
          <a:xfrm>
            <a:off x="8262815" y="2906464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Social Media Feeds</a:t>
            </a:r>
            <a:endParaRPr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5"/>
          </p:nvPr>
        </p:nvSpPr>
        <p:spPr bwMode="auto">
          <a:xfrm>
            <a:off x="8262814" y="4075180"/>
            <a:ext cx="3379042" cy="305159"/>
          </a:xfrm>
        </p:spPr>
        <p:txBody>
          <a:bodyPr/>
          <a:lstStyle/>
          <a:p>
            <a:pPr>
              <a:defRPr/>
            </a:pPr>
            <a:r>
              <a:rPr lang="de-DE"/>
              <a:t>Spiele-Apps</a:t>
            </a:r>
            <a:endParaRPr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6"/>
          </p:nvPr>
        </p:nvSpPr>
        <p:spPr bwMode="auto">
          <a:xfrm>
            <a:off x="7636205" y="5243899"/>
            <a:ext cx="4004933" cy="307777"/>
          </a:xfrm>
        </p:spPr>
        <p:txBody>
          <a:bodyPr/>
          <a:lstStyle/>
          <a:p>
            <a:pPr>
              <a:defRPr/>
            </a:pPr>
            <a:r>
              <a:rPr lang="de-DE"/>
              <a:t>Chats &amp; Übersetzungsfunktionen</a:t>
            </a:r>
            <a:endParaRPr/>
          </a:p>
        </p:txBody>
      </p:sp>
      <p:grpSp>
        <p:nvGrpSpPr>
          <p:cNvPr id="18" name="Gruppieren 17"/>
          <p:cNvGrpSpPr/>
          <p:nvPr/>
        </p:nvGrpSpPr>
        <p:grpSpPr bwMode="auto">
          <a:xfrm>
            <a:off x="4324708" y="2867688"/>
            <a:ext cx="900000" cy="900000"/>
            <a:chOff x="4289185" y="3182473"/>
            <a:chExt cx="900000" cy="900000"/>
          </a:xfrm>
        </p:grpSpPr>
        <p:sp>
          <p:nvSpPr>
            <p:cNvPr id="19" name="Ellipse 13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Ellipse 14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21" name="Gruppieren 20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22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23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24" name="Gruppieren 23"/>
          <p:cNvGrpSpPr/>
          <p:nvPr/>
        </p:nvGrpSpPr>
        <p:grpSpPr bwMode="auto">
          <a:xfrm>
            <a:off x="6963059" y="2867688"/>
            <a:ext cx="900000" cy="900000"/>
            <a:chOff x="4289185" y="3182473"/>
            <a:chExt cx="900000" cy="900000"/>
          </a:xfrm>
        </p:grpSpPr>
        <p:sp>
          <p:nvSpPr>
            <p:cNvPr id="38" name="Ellipse 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39" name="Ellipse 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46" name="Gruppieren 4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47" name="Freihandform: Form 26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54" name="Freihandform: Form 27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55" name="Gruppieren 54"/>
          <p:cNvGrpSpPr/>
          <p:nvPr/>
        </p:nvGrpSpPr>
        <p:grpSpPr bwMode="auto">
          <a:xfrm>
            <a:off x="4362925" y="4028925"/>
            <a:ext cx="900000" cy="900000"/>
            <a:chOff x="4289185" y="3182473"/>
            <a:chExt cx="900000" cy="900000"/>
          </a:xfrm>
        </p:grpSpPr>
        <p:sp>
          <p:nvSpPr>
            <p:cNvPr id="62" name="Ellipse 3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4" name="Ellipse 32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0" name="Gruppieren 69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1" name="Freihandform: Form 34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2" name="Freihandform: Form 35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3" name="Gruppieren 72"/>
          <p:cNvGrpSpPr/>
          <p:nvPr/>
        </p:nvGrpSpPr>
        <p:grpSpPr bwMode="auto">
          <a:xfrm>
            <a:off x="6914327" y="4028925"/>
            <a:ext cx="900000" cy="900000"/>
            <a:chOff x="4289185" y="3182473"/>
            <a:chExt cx="900000" cy="900000"/>
          </a:xfrm>
        </p:grpSpPr>
        <p:sp>
          <p:nvSpPr>
            <p:cNvPr id="74" name="Ellipse 40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75" name="Ellipse 41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6" name="Gruppieren 7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7" name="Freihandform: Form 4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8" name="Freihandform: Form 4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9" name="Gruppieren 78"/>
          <p:cNvGrpSpPr/>
          <p:nvPr/>
        </p:nvGrpSpPr>
        <p:grpSpPr bwMode="auto">
          <a:xfrm>
            <a:off x="6372481" y="5101675"/>
            <a:ext cx="900000" cy="900000"/>
            <a:chOff x="4289185" y="3182473"/>
            <a:chExt cx="900000" cy="900000"/>
          </a:xfrm>
        </p:grpSpPr>
        <p:sp>
          <p:nvSpPr>
            <p:cNvPr id="80" name="Ellipse 48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1" name="Ellipse 49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2" name="Gruppieren 81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3" name="Freihandform: Form 51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84" name="Freihandform: Form 52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85" name="Gruppieren 84"/>
          <p:cNvGrpSpPr/>
          <p:nvPr/>
        </p:nvGrpSpPr>
        <p:grpSpPr bwMode="auto">
          <a:xfrm>
            <a:off x="4919519" y="5101675"/>
            <a:ext cx="900000" cy="900000"/>
            <a:chOff x="4289185" y="3182473"/>
            <a:chExt cx="900000" cy="900000"/>
          </a:xfrm>
        </p:grpSpPr>
        <p:sp>
          <p:nvSpPr>
            <p:cNvPr id="86" name="Ellipse 5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7" name="Ellipse 5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8" name="Gruppieren 87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9" name="Freihandform: Form 59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0" name="Freihandform: Form 60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1" name="Gruppieren 90"/>
          <p:cNvGrpSpPr/>
          <p:nvPr/>
        </p:nvGrpSpPr>
        <p:grpSpPr bwMode="auto">
          <a:xfrm>
            <a:off x="5562481" y="2011620"/>
            <a:ext cx="900000" cy="900000"/>
            <a:chOff x="4289185" y="3182473"/>
            <a:chExt cx="900000" cy="900000"/>
          </a:xfrm>
        </p:grpSpPr>
        <p:sp>
          <p:nvSpPr>
            <p:cNvPr id="92" name="Ellipse 6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93" name="Ellipse 63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94" name="Gruppieren 93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95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6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8" name="Gruppieren 9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99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00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764611" y="997858"/>
            <a:ext cx="9868809" cy="366120"/>
          </a:xfrm>
        </p:spPr>
        <p:txBody>
          <a:bodyPr/>
          <a:lstStyle/>
          <a:p>
            <a:pPr>
              <a:defRPr/>
            </a:pPr>
            <a:r>
              <a:rPr lang="de-DE" sz="2400" b="1"/>
              <a:t>Hier begegnen uns KI-Anwendungen  bereits im Alltag</a:t>
            </a:r>
            <a:endParaRPr/>
          </a:p>
        </p:txBody>
      </p:sp>
      <p:grpSp>
        <p:nvGrpSpPr>
          <p:cNvPr id="5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5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1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" name="Inhaltsplatzhalter 2"/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/>
        </p:blipFill>
        <p:spPr bwMode="auto">
          <a:xfrm>
            <a:off x="8612945" y="2993283"/>
            <a:ext cx="2475687" cy="2541182"/>
          </a:xfr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7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4" name="Textfeld 13"/>
          <p:cNvSpPr txBox="1"/>
          <p:nvPr/>
        </p:nvSpPr>
        <p:spPr bwMode="auto">
          <a:xfrm>
            <a:off x="406545" y="2065309"/>
            <a:ext cx="795236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2800"/>
              <a:t>Informieren Sie sich selbst, so gut es geht. Sie sind für Ihr Kind immer der erste Ansprechpartner bei Fragen und Problemen</a:t>
            </a:r>
            <a:endParaRPr/>
          </a:p>
          <a:p>
            <a:pPr>
              <a:defRPr/>
            </a:pPr>
            <a:r>
              <a:rPr lang="de-DE" sz="2800"/>
              <a:t> —&gt; Seien Sie bereit für diesen Fall!</a:t>
            </a:r>
            <a:endParaRPr/>
          </a:p>
        </p:txBody>
      </p:sp>
      <p:sp>
        <p:nvSpPr>
          <p:cNvPr id="7" name="Rechteck 6"/>
          <p:cNvSpPr/>
          <p:nvPr/>
        </p:nvSpPr>
        <p:spPr bwMode="auto">
          <a:xfrm>
            <a:off x="8506691" y="5534466"/>
            <a:ext cx="3056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u="sng">
                <a:hlinkClick r:id="rId4" tooltip="https://ki-campus.org/podcasts/kikapiert?locale=de"/>
              </a:rPr>
              <a:t>KI kapiert | KI-Campus</a:t>
            </a:r>
            <a:endParaRPr lang="de-DE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320673" cy="1723549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 - </a:t>
            </a:r>
            <a:r>
              <a:rPr lang="de-DE"/>
              <a:t>Auch KI-Systeme können fehlerhaft und vorurteilsbehaftet sein!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auto">
          <a:xfrm>
            <a:off x="554327" y="2456557"/>
            <a:ext cx="11081494" cy="4701913"/>
          </a:xfrm>
        </p:spPr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2800"/>
              <a:t> KI-Anwendungen können sich irren und Vorurteile übernehm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KI-generierte Ergebnisse müssen selbst geprüft, reflektiert und hinterfragt werd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Alle Ausgaben kritisch hinterfragen und gemeinsam einordnen.</a:t>
            </a:r>
            <a:endParaRPr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8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205182" y="1616840"/>
            <a:ext cx="5292436" cy="4804582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hlinkClick r:id="rId3" tooltip="http://www.weitklick.de"/>
              </a:rPr>
              <a:t>Weitere Informationen für Eltern: </a:t>
            </a:r>
            <a:endParaRPr/>
          </a:p>
          <a:p>
            <a:pPr>
              <a:defRPr/>
            </a:pPr>
            <a:r>
              <a:rPr lang="de-DE" u="sng">
                <a:hlinkClick r:id="rId3" tooltip="http://www.weitklick.de"/>
              </a:rPr>
              <a:t>www.weitklick.de</a:t>
            </a:r>
            <a:endParaRPr lang="de-DE"/>
          </a:p>
          <a:p>
            <a:pPr>
              <a:defRPr/>
            </a:pPr>
            <a:r>
              <a:rPr lang="de-DE" u="sng">
                <a:hlinkClick r:id="rId4" tooltip="http://www.schu"/>
              </a:rPr>
              <a:t>www.schau-hin.info</a:t>
            </a:r>
            <a:r>
              <a:rPr lang="de-DE"/>
              <a:t> </a:t>
            </a:r>
            <a:endParaRPr/>
          </a:p>
          <a:p>
            <a:pPr>
              <a:defRPr/>
            </a:pPr>
            <a:r>
              <a:rPr lang="de-DE" u="sng">
                <a:hlinkClick r:id="rId5" tooltip="http://www.fragzebra.de"/>
              </a:rPr>
              <a:t>www.fragzebra.de</a:t>
            </a:r>
            <a:endParaRPr lang="de-DE"/>
          </a:p>
          <a:p>
            <a:pPr>
              <a:defRPr/>
            </a:pPr>
            <a:r>
              <a:rPr lang="de-DE" u="sng">
                <a:hlinkClick r:id="rId6" tooltip="http://www.klicksafe.de"/>
              </a:rPr>
              <a:t>www.klicksafe.de</a:t>
            </a:r>
            <a:endParaRPr lang="de-DE" u="sng"/>
          </a:p>
          <a:p>
            <a:pPr>
              <a:defRPr/>
            </a:pPr>
            <a:r>
              <a:rPr lang="de-DE" u="sng">
                <a:hlinkClick r:id="rId7" tooltip="https://www.km.bayern.de/gestalten/digitalisierung/unterrichten-in-der-digitalen-welt/beratung-digitale-bildung"/>
              </a:rPr>
              <a:t>Beratung digitale Bildung in Bayern | Unterrichten in der digitalen Welt | Digitalisierung | Bayerisches Staatsministerium für Unterricht und Kultus</a:t>
            </a:r>
            <a:endParaRPr lang="de-DE" u="sng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9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23" name="Grafik 22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 rot="2361590">
            <a:off x="8039804" y="2047372"/>
            <a:ext cx="3132416" cy="3132416"/>
          </a:xfrm>
          <a:prstGeom prst="rect">
            <a:avLst/>
          </a:prstGeom>
        </p:spPr>
      </p:pic>
      <p:sp>
        <p:nvSpPr>
          <p:cNvPr id="24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EINSTIEG INS THEMA </a:t>
            </a:r>
            <a:endParaRPr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117364" y="387531"/>
            <a:ext cx="652481" cy="626749"/>
          </a:xfrm>
          <a:prstGeom prst="rect">
            <a:avLst/>
          </a:prstGeom>
        </p:spPr>
      </p:pic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460520" y="6475333"/>
            <a:ext cx="3177153" cy="200685"/>
            <a:chOff x="8460520" y="6475333"/>
            <a:chExt cx="3177153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460520" y="6552907"/>
              <a:ext cx="317715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KI-Campus: https://ki-campus.org/overview/video CC BY-SA 4.0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6" name="Grafik 5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9317947" y="4619558"/>
            <a:ext cx="2475048" cy="1650032"/>
          </a:xfrm>
          <a:prstGeom prst="rect">
            <a:avLst/>
          </a:prstGeom>
        </p:spPr>
      </p:pic>
      <p:pic>
        <p:nvPicPr>
          <p:cNvPr id="9" name="Inhaltsplatzhalter 8">
            <a:hlinkClick r:id="rId6"/>
          </p:cNvPr>
          <p:cNvPicPr>
            <a:picLocks noGrp="1" noChangeAspect="1"/>
          </p:cNvPicPr>
          <p:nvPr>
            <p:ph sz="quarter" idx="11"/>
          </p:nvPr>
        </p:nvPicPr>
        <p:blipFill>
          <a:blip r:embed="rId7"/>
          <a:stretch/>
        </p:blipFill>
        <p:spPr bwMode="auto">
          <a:xfrm>
            <a:off x="2278201" y="1438313"/>
            <a:ext cx="6492875" cy="3255430"/>
          </a:xfrm>
        </p:spPr>
      </p:pic>
      <p:sp>
        <p:nvSpPr>
          <p:cNvPr id="10" name="Textfeld 9"/>
          <p:cNvSpPr txBox="1"/>
          <p:nvPr/>
        </p:nvSpPr>
        <p:spPr bwMode="auto">
          <a:xfrm>
            <a:off x="2278201" y="4865689"/>
            <a:ext cx="65652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3000">
                <a:solidFill>
                  <a:srgbClr val="DEC628"/>
                </a:solidFill>
                <a:latin typeface="Aptos"/>
              </a:rPr>
              <a:t>Was ist eigentlich Künstliche Intelligenz?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m="http://schemas.openxmlformats.org/officeDocument/2006/math" xmlns:w="http://schemas.openxmlformats.org/wordprocessingml/2006/main">
      <p:transition spd="slow" advClick="1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309548" y="1747760"/>
            <a:ext cx="5051834" cy="4477547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solidFill>
                  <a:schemeClr val="tx1"/>
                </a:solidFill>
              </a:rPr>
              <a:t>Beratungsangebote:</a:t>
            </a:r>
            <a:endParaRPr lang="de-DE">
              <a:solidFill>
                <a:schemeClr val="tx1"/>
              </a:solidFill>
            </a:endParaRPr>
          </a:p>
          <a:p>
            <a:pPr>
              <a:defRPr/>
            </a:pPr>
            <a:r>
              <a:rPr lang="de-DE"/>
              <a:t>Wenden Sie sich an die Schule Ihres Kindes: </a:t>
            </a:r>
            <a:r>
              <a:rPr lang="de-DE" sz="1400"/>
              <a:t>(Schule Telefonnummer/ Mailadresse)</a:t>
            </a:r>
            <a:endParaRPr/>
          </a:p>
          <a:p>
            <a:pPr>
              <a:defRPr/>
            </a:pPr>
            <a:r>
              <a:rPr lang="de-DE"/>
              <a:t>Beratungslehrer: </a:t>
            </a:r>
            <a:r>
              <a:rPr lang="de-DE" sz="1400"/>
              <a:t>(Schule Name einfügen)</a:t>
            </a:r>
            <a:endParaRPr/>
          </a:p>
          <a:p>
            <a:pPr>
              <a:defRPr/>
            </a:pPr>
            <a:r>
              <a:rPr lang="de-DE" u="sng">
                <a:hlinkClick r:id="rId3" tooltip="https://mebis.bycs.de/bdb"/>
              </a:rPr>
              <a:t>Beratung digitale Bildung | mebis Magazin</a:t>
            </a:r>
            <a:r>
              <a:rPr lang="de-DE"/>
              <a:t> (Hier kann der zuständige BdB gesucht werden)</a:t>
            </a:r>
            <a:endParaRPr/>
          </a:p>
          <a:p>
            <a:pPr>
              <a:defRPr/>
            </a:pPr>
            <a:r>
              <a:rPr lang="de-DE" u="sng">
                <a:hlinkClick r:id="rId4" tooltip="https://www.schulberatung.bayern.de/"/>
              </a:rPr>
              <a:t>Staatliche Schulberatung in Bayern</a:t>
            </a: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0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AutoShape 2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155575" y="-3889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8" name="AutoShape 4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307975" y="-2365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23" name="Grafik 22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293386" y="2149077"/>
            <a:ext cx="2944923" cy="2944923"/>
          </a:xfrm>
          <a:prstGeom prst="rect">
            <a:avLst/>
          </a:prstGeom>
        </p:spPr>
      </p:pic>
      <p:sp>
        <p:nvSpPr>
          <p:cNvPr id="25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947703" cy="861774"/>
          </a:xfrm>
        </p:spPr>
        <p:txBody>
          <a:bodyPr/>
          <a:lstStyle/>
          <a:p>
            <a:pPr>
              <a:defRPr/>
            </a:pPr>
            <a:r>
              <a:rPr lang="de-DE"/>
              <a:t>4. Gemeinsam Regeln festlegen &amp; visualisieren: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u="sng"/>
              <a:t>Exemplarische Schulregeln:</a:t>
            </a:r>
            <a:endParaRPr/>
          </a:p>
          <a:p>
            <a:pPr>
              <a:defRPr/>
            </a:pPr>
            <a:r>
              <a:rPr lang="de-DE"/>
              <a:t>Wir nutzen KI-Anwendungen nur, wenn es nötig ist!</a:t>
            </a:r>
            <a:endParaRPr/>
          </a:p>
          <a:p>
            <a:pPr>
              <a:defRPr/>
            </a:pPr>
            <a:r>
              <a:rPr lang="de-DE"/>
              <a:t>Wir benutzen KI-Anwendungen nur zur Unterstützung! – Das Denken übernehmen wir selbst!</a:t>
            </a:r>
            <a:endParaRPr/>
          </a:p>
          <a:p>
            <a:pPr>
              <a:defRPr/>
            </a:pPr>
            <a:r>
              <a:rPr lang="de-DE"/>
              <a:t>Wir nutzen nur KI-Anwendungen, die von der Lehrkraft freigegeben wurden. </a:t>
            </a:r>
            <a:endParaRPr/>
          </a:p>
          <a:p>
            <a:pPr>
              <a:defRPr/>
            </a:pPr>
            <a:r>
              <a:rPr lang="de-DE"/>
              <a:t>KI-Anwendungen sind nicht perfekt! – Wir überprüfen die Ergebnisse immer genau! (z.B. Mit Sachbüchern, google-Recherche, Lexika...)</a:t>
            </a:r>
            <a:endParaRPr/>
          </a:p>
          <a:p>
            <a:pPr>
              <a:defRPr/>
            </a:pPr>
            <a:r>
              <a:rPr lang="de-DE"/>
              <a:t>Wir geben keine persönliche Daten in ein KI-Anwendungen ein!</a:t>
            </a:r>
            <a:endParaRPr/>
          </a:p>
          <a:p>
            <a:pPr>
              <a:defRPr/>
            </a:pPr>
            <a:r>
              <a:rPr lang="de-DE"/>
              <a:t>Wir kennzeichnen, wenn wir für eine Arbeit die Hilfe einer KI-Anwendung genutzt haben!</a:t>
            </a:r>
            <a:endParaRPr/>
          </a:p>
          <a:p>
            <a:pPr>
              <a:defRPr/>
            </a:pPr>
            <a:r>
              <a:rPr lang="de-DE"/>
              <a:t>Bei Problemen sprechen wir miteinander darüber!</a:t>
            </a:r>
            <a:endParaRPr/>
          </a:p>
          <a:p>
            <a:pPr>
              <a:defRPr/>
            </a:pPr>
            <a:r>
              <a:rPr lang="de-DE"/>
              <a:t>Halte ich die Regeln nicht ein, darf ich nicht mit KI-Anwendungen arbeiten!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1</a:t>
            </a:fld>
            <a:endParaRPr lang="de-DE"/>
          </a:p>
        </p:txBody>
      </p:sp>
      <p:cxnSp>
        <p:nvCxnSpPr>
          <p:cNvPr id="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1413677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4. Gemeinsam Regeln festlegen &amp; Visualisieren: 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3" y="1505528"/>
            <a:ext cx="5960359" cy="4803198"/>
          </a:xfrm>
        </p:spPr>
        <p:txBody>
          <a:bodyPr/>
          <a:lstStyle/>
          <a:p>
            <a:pPr>
              <a:buFont typeface="Wingdings"/>
              <a:buChar char="þ"/>
              <a:defRPr/>
            </a:pPr>
            <a:r>
              <a:rPr lang="de-DE"/>
              <a:t>Regeln der Schule auch zu Hause anwenden 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Zusammen die Regeln für zu Hause formulieren (ggf. auch gleich Konsequenzen festlegen)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Regeln sichtbar im Haus (z.B. am Schreibtisch) aufhängen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Selbst Vorbild sein: Eltern und Kinder halten die Regeln ein</a:t>
            </a:r>
            <a:endParaRPr/>
          </a:p>
          <a:p>
            <a:pPr>
              <a:buFont typeface="Wingdings"/>
              <a:buChar char="þ"/>
              <a:defRPr/>
            </a:pP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2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990163" y="2291653"/>
            <a:ext cx="4438749" cy="2959166"/>
          </a:xfrm>
          <a:prstGeom prst="rect">
            <a:avLst/>
          </a:prstGeom>
        </p:spPr>
      </p:pic>
      <p:grpSp>
        <p:nvGrpSpPr>
          <p:cNvPr id="14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23" name="Foliennummernplatzhalter 5"/>
          <p:cNvSpPr txBox="1"/>
          <p:nvPr/>
        </p:nvSpPr>
        <p:spPr bwMode="auto">
          <a:xfrm>
            <a:off x="9709743" y="5330119"/>
            <a:ext cx="1596591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28.4.2025 mit ChatGPT4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5. Begleiten, aber auch vertrauen!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 algn="ctr">
              <a:buNone/>
              <a:defRPr/>
            </a:pPr>
            <a:r>
              <a:rPr lang="de-DE" sz="4000" dirty="0"/>
              <a:t>Unterstützen Sie ihr Kind, wo nötig, aber lassen Sie es auch eigenständig handeln, wo möglich!</a:t>
            </a:r>
            <a:endParaRPr dirty="0"/>
          </a:p>
          <a:p>
            <a:pPr marL="0" indent="0">
              <a:buNone/>
              <a:defRPr/>
            </a:pP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398460" y="5932421"/>
            <a:ext cx="3239213" cy="542912"/>
            <a:chOff x="8398460" y="5932421"/>
            <a:chExt cx="3239213" cy="542912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398460" y="5932421"/>
              <a:ext cx="171521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rstellet am 28.4.2025 mit ChatGPT4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457868" y="1587978"/>
            <a:ext cx="2829130" cy="4243697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34</a:t>
            </a:fld>
            <a:endParaRPr lang="de-DE"/>
          </a:p>
        </p:txBody>
      </p:sp>
      <p:sp>
        <p:nvSpPr>
          <p:cNvPr id="2" name="Textfeld 2">
            <a:extLst>
              <a:ext uri="{FF2B5EF4-FFF2-40B4-BE49-F238E27FC236}">
                <a16:creationId xmlns:a16="http://schemas.microsoft.com/office/drawing/2014/main" id="{92A67CD2-16F3-CA94-9C00-0B6C83049B43}"/>
              </a:ext>
            </a:extLst>
          </p:cNvPr>
          <p:cNvSpPr txBox="1"/>
          <p:nvPr/>
        </p:nvSpPr>
        <p:spPr bwMode="auto">
          <a:xfrm>
            <a:off x="554326" y="1448360"/>
            <a:ext cx="9794243" cy="1195777"/>
          </a:xfrm>
          <a:prstGeom prst="rect">
            <a:avLst/>
          </a:prstGeom>
          <a:noFill/>
        </p:spPr>
        <p:txBody>
          <a:bodyPr vert="horz" wrap="square" lIns="91440" tIns="45720" rIns="91440" bIns="45720" numCol="1" spcCol="0" rtlCol="0" fromWordArt="0" anchor="t" anchorCtr="0" forceAA="0" compatLnSpc="0">
            <a:spAutoFit/>
          </a:bodyPr>
          <a:lstStyle>
            <a:defPPr>
              <a:defRPr lang="de-DE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Präsentation: erstellt von ISB, Arbeitskreis Medienerziehung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.4.0</a:t>
            </a:r>
            <a:endParaRPr lang="de-DE" dirty="0">
              <a:solidFill>
                <a:srgbClr val="000000"/>
              </a:solidFill>
              <a:latin typeface="Helvetica"/>
            </a:endParaRP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Bilder: KI-generiert mit </a:t>
            </a:r>
            <a:r>
              <a:rPr lang="de-DE" dirty="0" err="1">
                <a:solidFill>
                  <a:srgbClr val="000000"/>
                </a:solidFill>
                <a:latin typeface="Helvetica"/>
              </a:rPr>
              <a:t>ChatGPT</a:t>
            </a:r>
            <a:r>
              <a:rPr lang="de-DE" dirty="0">
                <a:solidFill>
                  <a:srgbClr val="000000"/>
                </a:solidFill>
                <a:latin typeface="Helvetica"/>
              </a:rPr>
              <a:t> 4</a:t>
            </a: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Graphiken: soweit nicht anders gekennzeichnet von BLM Stiftung Medienpädagogik Bayern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-4.0</a:t>
            </a:r>
            <a:endParaRPr lang="de-DE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Icons mit CC-BY-Lizenz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5</a:t>
            </a:fld>
            <a:endParaRPr lang="de-DE"/>
          </a:p>
        </p:txBody>
      </p:sp>
      <p:pic>
        <p:nvPicPr>
          <p:cNvPr id="10" name="Grafik 9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84120" y="2838901"/>
            <a:ext cx="2106378" cy="2106378"/>
          </a:xfrm>
          <a:prstGeom prst="rect">
            <a:avLst/>
          </a:prstGeom>
        </p:spPr>
      </p:pic>
      <p:pic>
        <p:nvPicPr>
          <p:cNvPr id="12" name="Grafik 11" descr="Ein Bild, das Kleidung, Maske, Masque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068410" y="5136385"/>
            <a:ext cx="998560" cy="998560"/>
          </a:xfrm>
          <a:prstGeom prst="rect">
            <a:avLst/>
          </a:prstGeom>
        </p:spPr>
      </p:pic>
      <p:pic>
        <p:nvPicPr>
          <p:cNvPr id="14" name="Grafik 13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4298" y="1568763"/>
            <a:ext cx="817445" cy="817445"/>
          </a:xfrm>
          <a:prstGeom prst="rect">
            <a:avLst/>
          </a:prstGeom>
        </p:spPr>
      </p:pic>
      <p:pic>
        <p:nvPicPr>
          <p:cNvPr id="16" name="Grafik 15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087242" y="5154751"/>
            <a:ext cx="1072234" cy="1072234"/>
          </a:xfrm>
          <a:prstGeom prst="rect">
            <a:avLst/>
          </a:prstGeom>
        </p:spPr>
      </p:pic>
      <p:pic>
        <p:nvPicPr>
          <p:cNvPr id="18" name="Grafik 1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6412203" y="1431133"/>
            <a:ext cx="817445" cy="817445"/>
          </a:xfrm>
          <a:prstGeom prst="rect">
            <a:avLst/>
          </a:prstGeom>
        </p:spPr>
      </p:pic>
      <p:pic>
        <p:nvPicPr>
          <p:cNvPr id="20" name="Grafik 19" descr="Ein Bild, das Clipart, Desig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9073686" y="5486144"/>
            <a:ext cx="907387" cy="907387"/>
          </a:xfrm>
          <a:prstGeom prst="rect">
            <a:avLst/>
          </a:prstGeom>
        </p:spPr>
      </p:pic>
      <p:pic>
        <p:nvPicPr>
          <p:cNvPr id="22" name="Grafik 21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6460144" y="2940703"/>
            <a:ext cx="963735" cy="963735"/>
          </a:xfrm>
          <a:prstGeom prst="rect">
            <a:avLst/>
          </a:prstGeom>
        </p:spPr>
      </p:pic>
      <p:pic>
        <p:nvPicPr>
          <p:cNvPr id="24" name="Grafik 23" descr="Ein Bild, das Clipart, Grafiken, Cartoon, Kreativität enthält.&#10;&#10;KI-generierte Inhalte können fehlerhaft sein.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8494436" y="4106152"/>
            <a:ext cx="1029384" cy="1029384"/>
          </a:xfrm>
          <a:prstGeom prst="rect">
            <a:avLst/>
          </a:prstGeom>
        </p:spPr>
      </p:pic>
      <p:pic>
        <p:nvPicPr>
          <p:cNvPr id="26" name="Grafik 25" descr="Ein Bild, das Symbol, Design enthält.&#10;&#10;KI-generierte Inhalte können fehlerhaft sein.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202597" y="2713058"/>
            <a:ext cx="874640" cy="874640"/>
          </a:xfrm>
          <a:prstGeom prst="rect">
            <a:avLst/>
          </a:prstGeom>
        </p:spPr>
      </p:pic>
      <p:pic>
        <p:nvPicPr>
          <p:cNvPr id="28" name="Grafik 27" descr="Ein Bild, das Schloss, Metallwaren, Vorhängeschloss enthält.&#10;&#10;KI-generierte Inhalte können fehlerhaft sein.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3340055" y="5513131"/>
            <a:ext cx="874639" cy="874639"/>
          </a:xfrm>
          <a:prstGeom prst="rect">
            <a:avLst/>
          </a:prstGeom>
        </p:spPr>
      </p:pic>
      <p:pic>
        <p:nvPicPr>
          <p:cNvPr id="30" name="Grafik 2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2041335" y="5491906"/>
            <a:ext cx="895864" cy="895864"/>
          </a:xfrm>
          <a:prstGeom prst="rect">
            <a:avLst/>
          </a:prstGeom>
        </p:spPr>
      </p:pic>
      <p:pic>
        <p:nvPicPr>
          <p:cNvPr id="32" name="Grafik 31" descr="Ein Bild, das Karte, Erde, Welt, Planet enthält.&#10;&#10;KI-generierte Inhalte können fehlerhaft sein.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10475103" y="5154751"/>
            <a:ext cx="1182471" cy="1182471"/>
          </a:xfrm>
          <a:prstGeom prst="rect">
            <a:avLst/>
          </a:prstGeom>
        </p:spPr>
      </p:pic>
      <p:pic>
        <p:nvPicPr>
          <p:cNvPr id="34" name="Grafik 33" descr="Ein Bild, das Symbol, Logo, Markenzeichen, Emblem enthält.&#10;&#10;KI-generierte Inhalte können fehlerhaft sein."/>
          <p:cNvPicPr>
            <a:picLocks noChangeAspect="1"/>
          </p:cNvPicPr>
          <p:nvPr/>
        </p:nvPicPr>
        <p:blipFill>
          <a:blip r:embed="rId15"/>
          <a:stretch/>
        </p:blipFill>
        <p:spPr bwMode="auto">
          <a:xfrm>
            <a:off x="534426" y="5301977"/>
            <a:ext cx="1035245" cy="1035245"/>
          </a:xfrm>
          <a:prstGeom prst="rect">
            <a:avLst/>
          </a:prstGeom>
        </p:spPr>
      </p:pic>
      <p:pic>
        <p:nvPicPr>
          <p:cNvPr id="36" name="Grafik 3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16"/>
          <a:stretch/>
        </p:blipFill>
        <p:spPr bwMode="auto">
          <a:xfrm>
            <a:off x="2059577" y="4202502"/>
            <a:ext cx="1029384" cy="1029384"/>
          </a:xfrm>
          <a:prstGeom prst="rect">
            <a:avLst/>
          </a:prstGeom>
        </p:spPr>
      </p:pic>
      <p:pic>
        <p:nvPicPr>
          <p:cNvPr id="38" name="Grafik 37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7">
            <a:grayscl/>
          </a:blip>
          <a:stretch/>
        </p:blipFill>
        <p:spPr bwMode="auto">
          <a:xfrm>
            <a:off x="517051" y="4175036"/>
            <a:ext cx="987181" cy="987181"/>
          </a:xfrm>
          <a:prstGeom prst="rect">
            <a:avLst/>
          </a:prstGeom>
        </p:spPr>
      </p:pic>
      <p:pic>
        <p:nvPicPr>
          <p:cNvPr id="40" name="Grafik 39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1890774" y="2745495"/>
            <a:ext cx="1196987" cy="1196987"/>
          </a:xfrm>
          <a:prstGeom prst="rect">
            <a:avLst/>
          </a:prstGeom>
        </p:spPr>
      </p:pic>
      <p:pic>
        <p:nvPicPr>
          <p:cNvPr id="42" name="Grafik 41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432459" y="2947132"/>
            <a:ext cx="963735" cy="963735"/>
          </a:xfrm>
          <a:prstGeom prst="rect">
            <a:avLst/>
          </a:prstGeom>
        </p:spPr>
      </p:pic>
      <p:pic>
        <p:nvPicPr>
          <p:cNvPr id="44" name="Grafik 43" descr="Ein Bild, das Logo, Kreis, Grafiken, Grafikdesign enthält.&#10;&#10;KI-generierte Inhalte können fehlerhaft sein."/>
          <p:cNvPicPr>
            <a:picLocks noChangeAspect="1"/>
          </p:cNvPicPr>
          <p:nvPr/>
        </p:nvPicPr>
        <p:blipFill>
          <a:blip r:embed="rId20"/>
          <a:stretch/>
        </p:blipFill>
        <p:spPr bwMode="auto">
          <a:xfrm>
            <a:off x="3651518" y="1526143"/>
            <a:ext cx="963735" cy="963735"/>
          </a:xfrm>
          <a:prstGeom prst="rect">
            <a:avLst/>
          </a:prstGeom>
        </p:spPr>
      </p:pic>
      <p:pic>
        <p:nvPicPr>
          <p:cNvPr id="46" name="Grafik 45" descr="Ein Bild, das Sanduhr, Design enthält.&#10;&#10;KI-generierte Inhalte können fehlerhaft sein."/>
          <p:cNvPicPr>
            <a:picLocks noChangeAspect="1"/>
          </p:cNvPicPr>
          <p:nvPr/>
        </p:nvPicPr>
        <p:blipFill>
          <a:blip r:embed="rId21"/>
          <a:stretch/>
        </p:blipFill>
        <p:spPr bwMode="auto">
          <a:xfrm>
            <a:off x="8794750" y="1531243"/>
            <a:ext cx="697621" cy="697621"/>
          </a:xfrm>
          <a:prstGeom prst="rect">
            <a:avLst/>
          </a:prstGeom>
        </p:spPr>
      </p:pic>
      <p:pic>
        <p:nvPicPr>
          <p:cNvPr id="48" name="Grafik 47" descr="Ein Bild, das Clipart enthält.&#10;&#10;KI-generierte Inhalte können fehlerhaft sein."/>
          <p:cNvPicPr>
            <a:picLocks noChangeAspect="1"/>
          </p:cNvPicPr>
          <p:nvPr/>
        </p:nvPicPr>
        <p:blipFill>
          <a:blip r:embed="rId22"/>
          <a:stretch/>
        </p:blipFill>
        <p:spPr bwMode="auto">
          <a:xfrm>
            <a:off x="9982199" y="3150377"/>
            <a:ext cx="1794901" cy="1794901"/>
          </a:xfrm>
          <a:prstGeom prst="rect">
            <a:avLst/>
          </a:prstGeom>
        </p:spPr>
      </p:pic>
      <p:pic>
        <p:nvPicPr>
          <p:cNvPr id="50" name="Grafik 4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23"/>
          <a:stretch/>
        </p:blipFill>
        <p:spPr bwMode="auto">
          <a:xfrm>
            <a:off x="10291689" y="1974455"/>
            <a:ext cx="1175921" cy="1175921"/>
          </a:xfrm>
          <a:prstGeom prst="rect">
            <a:avLst/>
          </a:prstGeom>
        </p:spPr>
      </p:pic>
      <p:pic>
        <p:nvPicPr>
          <p:cNvPr id="52" name="Grafik 51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24"/>
          <a:stretch/>
        </p:blipFill>
        <p:spPr bwMode="auto">
          <a:xfrm>
            <a:off x="2059577" y="1431141"/>
            <a:ext cx="1058737" cy="1058737"/>
          </a:xfrm>
          <a:prstGeom prst="rect">
            <a:avLst/>
          </a:prstGeom>
        </p:spPr>
      </p:pic>
      <p:pic>
        <p:nvPicPr>
          <p:cNvPr id="56" name="Grafik 55" descr="Ein Bild, das Kreis, Grafiken, Design, Clipart enthält.&#10;&#10;KI-generierte Inhalte können fehlerhaft sein."/>
          <p:cNvPicPr>
            <a:picLocks noChangeAspect="1"/>
          </p:cNvPicPr>
          <p:nvPr/>
        </p:nvPicPr>
        <p:blipFill>
          <a:blip r:embed="rId25"/>
          <a:stretch/>
        </p:blipFill>
        <p:spPr bwMode="auto">
          <a:xfrm>
            <a:off x="534426" y="1556022"/>
            <a:ext cx="909270" cy="909270"/>
          </a:xfrm>
          <a:prstGeom prst="rect">
            <a:avLst/>
          </a:prstGeom>
        </p:spPr>
      </p:pic>
      <p:grpSp>
        <p:nvGrpSpPr>
          <p:cNvPr id="2" name="Gruppieren 1"/>
          <p:cNvGrpSpPr/>
          <p:nvPr/>
        </p:nvGrpSpPr>
        <p:grpSpPr bwMode="auto">
          <a:xfrm>
            <a:off x="8925392" y="6475333"/>
            <a:ext cx="2712281" cy="200685"/>
            <a:chOff x="8925392" y="6475333"/>
            <a:chExt cx="2712281" cy="200685"/>
          </a:xfrm>
        </p:grpSpPr>
        <p:sp>
          <p:nvSpPr>
            <p:cNvPr id="3" name="Foliennummernplatzhalter 5"/>
            <p:cNvSpPr txBox="1"/>
            <p:nvPr/>
          </p:nvSpPr>
          <p:spPr bwMode="auto">
            <a:xfrm>
              <a:off x="8925392" y="6552907"/>
              <a:ext cx="2712281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BLM Stiftung Medienpädagogik Bayern, CC-BY-NC-4.0</a:t>
              </a:r>
              <a:endParaRPr/>
            </a:p>
          </p:txBody>
        </p:sp>
        <p:cxnSp>
          <p:nvCxnSpPr>
            <p:cNvPr id="4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Grundlagen und Funktionsweise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554326" y="2056104"/>
            <a:ext cx="5356355" cy="2535664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Definition</a:t>
            </a:r>
            <a:endParaRPr lang="de-DE" spc="-36">
              <a:solidFill>
                <a:srgbClr val="272525"/>
              </a:solidFill>
              <a:ea typeface="Inter"/>
              <a:cs typeface="Arial"/>
            </a:endParaRPr>
          </a:p>
          <a:p>
            <a:pPr marL="0" indent="0">
              <a:buNone/>
              <a:defRPr/>
            </a:pPr>
            <a:r>
              <a:rPr lang="de-DE" sz="1800"/>
              <a:t>„Künstliche Intelligenz ist die Fähigkeit einer Maschine, menschliche Fähigkeiten wie logisches Denken, Lernen, Planen und Kreativität zu imitieren.“</a:t>
            </a:r>
            <a:endParaRPr/>
          </a:p>
          <a:p>
            <a:pPr marL="0" indent="0">
              <a:buNone/>
              <a:defRPr/>
            </a:pPr>
            <a:r>
              <a:rPr lang="de-DE" sz="1400" i="1"/>
              <a:t>(Europäisches Parlament – Website) </a:t>
            </a:r>
            <a:endParaRPr/>
          </a:p>
          <a:p>
            <a:pPr marL="0" indent="0">
              <a:buNone/>
              <a:defRPr/>
            </a:pPr>
            <a:endParaRPr lang="de-DE" sz="1400"/>
          </a:p>
          <a:p>
            <a:pPr marL="0" indent="0">
              <a:buNone/>
              <a:defRPr/>
            </a:pP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Funktionsweise</a:t>
            </a:r>
            <a:endParaRPr lang="de-DE" sz="2400" b="1" spc="-36">
              <a:solidFill>
                <a:srgbClr val="272525"/>
              </a:solidFill>
              <a:ea typeface="Inter"/>
              <a:cs typeface="Arial"/>
            </a:endParaRPr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Künstliche Intelligenz (KI): nutzt Algorithmen, zur Analyse von großen Datenmengen und Erkennung  von Mustern </a:t>
            </a:r>
            <a:endParaRPr/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Maschinelles Lernen: Ein </a:t>
            </a:r>
            <a:r>
              <a:rPr lang="de-DE" sz="1800" spc="-36">
                <a:solidFill>
                  <a:srgbClr val="272525"/>
                </a:solidFill>
                <a:ea typeface="Inter"/>
              </a:rPr>
              <a:t>System lernt, </a:t>
            </a: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Aufgaben zu lösen durch Berechnung von Wahrscheinlichkeiten.</a:t>
            </a:r>
            <a:endParaRPr/>
          </a:p>
          <a:p>
            <a:pPr>
              <a:defRPr/>
            </a:pPr>
            <a:r>
              <a:rPr lang="de-DE" sz="1800"/>
              <a:t>Mehr Daten, gezieltes Training  genauer,  leistungsfähiger</a:t>
            </a:r>
            <a:endParaRPr sz="1800"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 lang="de-DE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grayscl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3"/>
            <a:ext cx="6423603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1950er Jahre – Ideen und Anfänge</a:t>
            </a:r>
            <a:endParaRPr lang="de-DE"/>
          </a:p>
          <a:p>
            <a:pPr>
              <a:defRPr/>
            </a:pPr>
            <a:r>
              <a:rPr lang="de-DE" sz="1600"/>
              <a:t>Alan Turing entwickelt den „Turing-Test“. </a:t>
            </a:r>
            <a:endParaRPr/>
          </a:p>
          <a:p>
            <a:pPr>
              <a:defRPr/>
            </a:pPr>
            <a:r>
              <a:rPr lang="de-DE" sz="1600"/>
              <a:t>Erste Computerprogramme lösen einfache Aufgaben automatisiert.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ntwicklung</a:t>
            </a:r>
            <a:endParaRPr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6048632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1960er Jahre – Geburt der KI</a:t>
            </a:r>
            <a:endParaRPr/>
          </a:p>
          <a:p>
            <a:pPr>
              <a:defRPr/>
            </a:pPr>
            <a:r>
              <a:rPr lang="de-DE" sz="1600"/>
              <a:t>Erste Programme lösen komplexe Aufgaben (z. B. Schach, Logikbeweise). </a:t>
            </a:r>
            <a:endParaRPr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6595514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2000er Jahre – Big Data</a:t>
            </a:r>
            <a:endParaRPr/>
          </a:p>
          <a:p>
            <a:pPr>
              <a:defRPr/>
            </a:pPr>
            <a:r>
              <a:rPr lang="de-DE" sz="1600"/>
              <a:t>Wachsende Rechenleistung und große Datenmengen machen Algorithmen leistungsfähiger. Maschinelles Lernen entsteht.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8163965" y="6475333"/>
            <a:ext cx="3473708" cy="200685"/>
            <a:chOff x="8163965" y="6475333"/>
            <a:chExt cx="3473708" cy="200685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8163965" y="6552907"/>
              <a:ext cx="3473708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Die Entschlüsselungsmaschine „Bletchley Park - Bombe“ 1945 – public domai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5"/>
            <a:ext cx="7476149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2010 bis heute – Deep Learning und generative KI</a:t>
            </a:r>
            <a:endParaRPr/>
          </a:p>
          <a:p>
            <a:pPr>
              <a:defRPr/>
            </a:pPr>
            <a:r>
              <a:rPr lang="de-DE" sz="1600"/>
              <a:t>Neuronale Netze verändern Bild-, Sprach- und Textverarbeitung. GPT-Modelle zeigen die Fähigkeit, riesige Datenmengen zu verarbeiten und daraus neue Daten zu generieren.</a:t>
            </a:r>
            <a:endParaRPr lang="de-DE"/>
          </a:p>
        </p:txBody>
      </p:sp>
      <p:sp>
        <p:nvSpPr>
          <p:cNvPr id="10" name="Shape 2"/>
          <p:cNvSpPr/>
          <p:nvPr/>
        </p:nvSpPr>
        <p:spPr bwMode="auto">
          <a:xfrm flipH="1">
            <a:off x="767284" y="2138198"/>
            <a:ext cx="36000" cy="3600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3"/>
          <p:cNvSpPr/>
          <p:nvPr/>
        </p:nvSpPr>
        <p:spPr bwMode="auto">
          <a:xfrm>
            <a:off x="875522" y="1887338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3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66221" y="1828536"/>
            <a:ext cx="238125" cy="297656"/>
          </a:xfrm>
          <a:prstGeom prst="rect">
            <a:avLst/>
          </a:prstGeom>
        </p:spPr>
      </p:pic>
      <p:pic>
        <p:nvPicPr>
          <p:cNvPr id="27" name="Image 2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66220" y="3124478"/>
            <a:ext cx="238125" cy="297656"/>
          </a:xfrm>
          <a:prstGeom prst="rect">
            <a:avLst/>
          </a:prstGeom>
        </p:spPr>
      </p:pic>
      <p:pic>
        <p:nvPicPr>
          <p:cNvPr id="30" name="Image 3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69171" y="4322544"/>
            <a:ext cx="238125" cy="297656"/>
          </a:xfrm>
          <a:prstGeom prst="rect">
            <a:avLst/>
          </a:prstGeom>
        </p:spPr>
      </p:pic>
      <p:pic>
        <p:nvPicPr>
          <p:cNvPr id="33" name="Image 4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669717" y="5534904"/>
            <a:ext cx="238125" cy="297656"/>
          </a:xfrm>
          <a:prstGeom prst="rect">
            <a:avLst/>
          </a:prstGeom>
        </p:spPr>
      </p:pic>
      <p:sp>
        <p:nvSpPr>
          <p:cNvPr id="34" name="Shape 3"/>
          <p:cNvSpPr/>
          <p:nvPr/>
        </p:nvSpPr>
        <p:spPr bwMode="auto">
          <a:xfrm>
            <a:off x="875522" y="3166120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5" name="Shape 3"/>
          <p:cNvSpPr/>
          <p:nvPr/>
        </p:nvSpPr>
        <p:spPr bwMode="auto">
          <a:xfrm>
            <a:off x="875522" y="4372414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6" name="Shape 3"/>
          <p:cNvSpPr/>
          <p:nvPr/>
        </p:nvSpPr>
        <p:spPr bwMode="auto">
          <a:xfrm>
            <a:off x="875522" y="5566627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rcRect b="34995"/>
          <a:stretch/>
        </p:blipFill>
        <p:spPr bwMode="auto">
          <a:xfrm>
            <a:off x="7751662" y="1253556"/>
            <a:ext cx="1735606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8"/>
          <a:srcRect b="21710"/>
          <a:stretch/>
        </p:blipFill>
        <p:spPr bwMode="auto">
          <a:xfrm>
            <a:off x="9765848" y="2232865"/>
            <a:ext cx="1341057" cy="15748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9"/>
          <a:srcRect b="22161"/>
          <a:stretch/>
        </p:blipFill>
        <p:spPr bwMode="auto">
          <a:xfrm>
            <a:off x="9711653" y="4165316"/>
            <a:ext cx="1449445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Begriffe einfach erklärt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6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LLM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>
                <a:solidFill>
                  <a:schemeClr val="tx1"/>
                </a:solidFill>
              </a:rPr>
              <a:t>Large Language Models sind universell einsetzbare Modelle, die mit riesigen Textmengen trainiert wurden und in der Lage sind, menschliche Sprache im großen Maßstab zu erzeugen und scheinbar zu verstehen.</a:t>
            </a:r>
            <a:endParaRPr lang="de-DE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Generative KI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KI-Systeme, mit denen auf scheinbar kreative Weise neue Ergebnisse produziert werden können, etwa Bilder, Video, Audio oder Texte.</a:t>
            </a:r>
            <a:endParaRPr lang="de-DE"/>
          </a:p>
        </p:txBody>
      </p:sp>
      <p:pic>
        <p:nvPicPr>
          <p:cNvPr id="23" name="Image 0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07857" y="1606811"/>
            <a:ext cx="1030129" cy="1030129"/>
          </a:xfrm>
          <a:prstGeom prst="rect">
            <a:avLst/>
          </a:prstGeom>
        </p:spPr>
      </p:pic>
      <p:pic>
        <p:nvPicPr>
          <p:cNvPr id="24" name="Image 1" descr="preencoded.png"/>
          <p:cNvPicPr>
            <a:picLocks noChangeAspect="1"/>
          </p:cNvPicPr>
          <p:nvPr/>
        </p:nvPicPr>
        <p:blipFill>
          <a:blip r:embed="rId5"/>
          <a:srcRect t="5143"/>
          <a:stretch/>
        </p:blipFill>
        <p:spPr bwMode="auto">
          <a:xfrm>
            <a:off x="5503003" y="1606811"/>
            <a:ext cx="1030129" cy="977151"/>
          </a:xfrm>
          <a:prstGeom prst="rect">
            <a:avLst/>
          </a:prstGeom>
        </p:spPr>
      </p:pic>
      <p:sp>
        <p:nvSpPr>
          <p:cNvPr id="25" name="Textplatzhalter 21"/>
          <p:cNvSpPr>
            <a:spLocks noGrp="1"/>
          </p:cNvSpPr>
          <p:nvPr>
            <p:ph type="body" sz="quarter" idx="15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Maschinelles Lernen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Der Begriff beschreibt, wie Algorithmen Muster in den Daten erkennen. Diese Verfahren beinhalten  eine Trainingsphase, in der das Modell angelernt wird.</a:t>
            </a:r>
            <a:endParaRPr/>
          </a:p>
        </p:txBody>
      </p:sp>
      <p:pic>
        <p:nvPicPr>
          <p:cNvPr id="26" name="Image 2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9376081" y="1580321"/>
            <a:ext cx="1030129" cy="103012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2"/>
            <a:ext cx="5421296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oziale Medien</a:t>
            </a:r>
            <a:endParaRPr/>
          </a:p>
          <a:p>
            <a:pPr>
              <a:defRPr/>
            </a:pPr>
            <a:r>
              <a:rPr lang="de-DE"/>
              <a:t>z. B. bei Chatbots und personalisierter Werbung (Tiktok, Snapchat, Instagram) oder bei Streaming-Diensten wie Youtube oder Netflix (Empfehlungen)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KI in der Lebenswelt unserer </a:t>
            </a:r>
            <a:br>
              <a:rPr lang="de-DE"/>
            </a:br>
            <a:r>
              <a:rPr lang="de-DE"/>
              <a:t>Schülerinnen und Schüler 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5418057" cy="584775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iele</a:t>
            </a:r>
            <a:endParaRPr/>
          </a:p>
          <a:p>
            <a:pPr>
              <a:defRPr/>
            </a:pPr>
            <a:r>
              <a:rPr lang="de-DE"/>
              <a:t>z. B. Spielgegner und personalisierte Erlebniss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7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5418058" cy="861774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rachassistenten</a:t>
            </a:r>
            <a:endParaRPr/>
          </a:p>
          <a:p>
            <a:pPr>
              <a:defRPr/>
            </a:pPr>
            <a:r>
              <a:rPr lang="de-DE"/>
              <a:t>Nutzung von Siri, Alexa, Gemini usw. im Alltag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4"/>
            <a:ext cx="5418777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Lern-Apps</a:t>
            </a:r>
            <a:endParaRPr/>
          </a:p>
          <a:p>
            <a:pPr>
              <a:defRPr/>
            </a:pPr>
            <a:r>
              <a:rPr lang="de-DE"/>
              <a:t>z. B. Anton, Duolingo oder Scoyo nutzen KI, um das Lernniveau anzupassen</a:t>
            </a:r>
            <a:endParaRPr/>
          </a:p>
          <a:p>
            <a:pPr>
              <a:defRPr/>
            </a:pPr>
            <a:endParaRPr lang="de-DE"/>
          </a:p>
        </p:txBody>
      </p:sp>
      <p:pic>
        <p:nvPicPr>
          <p:cNvPr id="11" name="Image 3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3290" y="3075740"/>
            <a:ext cx="306110" cy="382667"/>
          </a:xfrm>
          <a:prstGeom prst="rect">
            <a:avLst/>
          </a:prstGeom>
        </p:spPr>
      </p:pic>
      <p:pic>
        <p:nvPicPr>
          <p:cNvPr id="12" name="Image 4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33290" y="4280228"/>
            <a:ext cx="306110" cy="382667"/>
          </a:xfrm>
          <a:prstGeom prst="rect">
            <a:avLst/>
          </a:prstGeom>
        </p:spPr>
      </p:pic>
      <p:pic>
        <p:nvPicPr>
          <p:cNvPr id="13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3290" y="5484716"/>
            <a:ext cx="306110" cy="382667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 bwMode="auto">
          <a:xfrm>
            <a:off x="7998855" y="6475333"/>
            <a:ext cx="3638817" cy="200685"/>
            <a:chOff x="7998855" y="6475333"/>
            <a:chExt cx="3638817" cy="200685"/>
          </a:xfrm>
        </p:grpSpPr>
        <p:sp>
          <p:nvSpPr>
            <p:cNvPr id="15" name="Foliennummernplatzhalter 5"/>
            <p:cNvSpPr txBox="1"/>
            <p:nvPr/>
          </p:nvSpPr>
          <p:spPr bwMode="auto">
            <a:xfrm>
              <a:off x="7998855" y="6552907"/>
              <a:ext cx="3638817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Kinder beim Lernen zu Hause mit KI-Tools – erstellt mit ChatGPT 4.o am 22.05.2025</a:t>
              </a:r>
              <a:endParaRPr/>
            </a:p>
          </p:txBody>
        </p:sp>
        <p:cxnSp>
          <p:nvCxnSpPr>
            <p:cNvPr id="16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 descr="Smartphone mit einfarbiger Füllung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/>
        </p:blipFill>
        <p:spPr bwMode="auto">
          <a:xfrm>
            <a:off x="605921" y="1797597"/>
            <a:ext cx="360847" cy="360847"/>
          </a:xfrm>
          <a:prstGeom prst="rect">
            <a:avLst/>
          </a:prstGeom>
        </p:spPr>
      </p:pic>
      <p:pic>
        <p:nvPicPr>
          <p:cNvPr id="23" name="Bildplatzhalter 22"/>
          <p:cNvPicPr>
            <a:picLocks noGrp="1" noChangeAspect="1"/>
          </p:cNvPicPr>
          <p:nvPr>
            <p:ph type="pic" sz="quarter" idx="22"/>
          </p:nvPr>
        </p:nvPicPr>
        <p:blipFill>
          <a:blip r:embed="rId8"/>
          <a:srcRect t="6995" b="6995"/>
          <a:stretch/>
        </p:blipFill>
        <p:spPr bwMode="auto"/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anwendungen als verstärker guten unterrichts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8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graphicFrame>
        <p:nvGraphicFramePr>
          <p:cNvPr id="13" name="Diagramm 12"/>
          <p:cNvGraphicFramePr>
            <a:graphicFrameLocks/>
          </p:cNvGraphicFramePr>
          <p:nvPr/>
        </p:nvGraphicFramePr>
        <p:xfrm>
          <a:off x="2032000" y="1407781"/>
          <a:ext cx="7171206" cy="4730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solidFill>
                  <a:schemeClr val="accent6"/>
                </a:solidFill>
              </a:rPr>
              <a:t>Herausforderungen</a:t>
            </a:r>
            <a:r>
              <a:rPr lang="de-DE"/>
              <a:t> von KI in der Schule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 bwMode="auto">
          <a:xfrm>
            <a:off x="584682" y="2689523"/>
            <a:ext cx="3630625" cy="323165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/>
          <a:lstStyle/>
          <a:p>
            <a:pPr algn="ctr">
              <a:defRPr/>
            </a:pPr>
            <a:r>
              <a:rPr lang="de-DE" sz="2400" b="1"/>
              <a:t>Datenschutz &amp; </a:t>
            </a:r>
            <a:endParaRPr/>
          </a:p>
          <a:p>
            <a:pPr algn="ctr">
              <a:defRPr/>
            </a:pPr>
            <a:r>
              <a:rPr lang="de-DE" sz="2400" b="1"/>
              <a:t>Sicherheit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Oft Verarbeitung personenbezogener Daten  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nicht immer konform mit der DSGVO, mit der KI-Verordnung der Europäischen Union oder dem allgemeinen Schulrecht</a:t>
            </a:r>
            <a:endParaRPr/>
          </a:p>
          <a:p>
            <a:pPr marL="285750" indent="-285750">
              <a:buFont typeface="Wingdings"/>
              <a:buChar char="Ø"/>
              <a:defRPr/>
            </a:pPr>
            <a:r>
              <a:rPr lang="de-DE"/>
              <a:t>Genaue Prüfung</a:t>
            </a:r>
            <a:endParaRPr/>
          </a:p>
          <a:p>
            <a:pPr algn="ctr"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9</a:t>
            </a:fld>
            <a:endParaRPr lang="de-DE"/>
          </a:p>
        </p:txBody>
      </p:sp>
      <p:pic>
        <p:nvPicPr>
          <p:cNvPr id="8" name="Image 1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2230695" y="2229413"/>
            <a:ext cx="230785" cy="274652"/>
          </a:xfrm>
          <a:prstGeom prst="rect">
            <a:avLst/>
          </a:prstGeom>
          <a:solidFill>
            <a:srgbClr val="E8DC7B"/>
          </a:solidFill>
        </p:spPr>
      </p:pic>
      <p:pic>
        <p:nvPicPr>
          <p:cNvPr id="9" name="Image 2" descr="preencoded.pn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5968377" y="2229413"/>
            <a:ext cx="230785" cy="274652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9706059" y="2229413"/>
            <a:ext cx="230785" cy="274652"/>
          </a:xfrm>
          <a:prstGeom prst="rect">
            <a:avLst/>
          </a:prstGeom>
        </p:spPr>
      </p:pic>
      <p:sp>
        <p:nvSpPr>
          <p:cNvPr id="11" name="Textplatzhalter 5"/>
          <p:cNvSpPr txBox="1"/>
          <p:nvPr/>
        </p:nvSpPr>
        <p:spPr bwMode="auto">
          <a:xfrm>
            <a:off x="4403558" y="2726842"/>
            <a:ext cx="3478307" cy="2182649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Verlässlichkeit</a:t>
            </a:r>
            <a:endParaRPr/>
          </a:p>
          <a:p>
            <a:pPr algn="ctr">
              <a:defRPr/>
            </a:pPr>
            <a:r>
              <a:rPr lang="de-DE" sz="2400" b="1"/>
              <a:t>von Inhalten</a:t>
            </a:r>
            <a:endParaRPr lang="de-DE"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/>
              <a:t>Inhalte zum Teil fehlerhaft oder verzerrt (Vorurteile, Bias)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Prüfung von Inhalt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Quellen-Check</a:t>
            </a:r>
            <a:endParaRPr/>
          </a:p>
        </p:txBody>
      </p:sp>
      <p:sp>
        <p:nvSpPr>
          <p:cNvPr id="12" name="Textplatzhalter 5"/>
          <p:cNvSpPr txBox="1"/>
          <p:nvPr/>
        </p:nvSpPr>
        <p:spPr bwMode="auto">
          <a:xfrm>
            <a:off x="8070117" y="2726842"/>
            <a:ext cx="3596092" cy="276742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Gefahr der Übernutzung</a:t>
            </a:r>
            <a:endParaRPr/>
          </a:p>
          <a:p>
            <a:pPr algn="ctr">
              <a:defRPr/>
            </a:pPr>
            <a:r>
              <a:rPr lang="de-DE" sz="2400" b="1"/>
              <a:t>oder Täuschung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z="1800" spc="-28">
                <a:solidFill>
                  <a:srgbClr val="272525"/>
                </a:solidFill>
                <a:ea typeface="Inter"/>
                <a:cs typeface="Arial"/>
              </a:rPr>
              <a:t>KI-Anwendungen sind Hilfe, keine Abkürzung</a:t>
            </a:r>
            <a:endParaRPr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Eigenleistung immer noch wichtig: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 spc="-28">
                <a:solidFill>
                  <a:srgbClr val="272525"/>
                </a:solidFill>
                <a:cs typeface="Arial"/>
              </a:rPr>
              <a:t>KI-Nutzung kennzeichn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Praxisorientierte Aufgaben</a:t>
            </a:r>
            <a:endParaRPr lang="de-DE" sz="1800">
              <a:cs typeface="Arial"/>
            </a:endParaRPr>
          </a:p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30</Words>
  <Application>Microsoft Office PowerPoint</Application>
  <DocSecurity>0</DocSecurity>
  <PresentationFormat>Breitbild</PresentationFormat>
  <Paragraphs>786</Paragraphs>
  <Slides>35</Slides>
  <Notes>3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7" baseType="lpstr">
      <vt:lpstr>Aptos</vt:lpstr>
      <vt:lpstr>Arial</vt:lpstr>
      <vt:lpstr>Calibri</vt:lpstr>
      <vt:lpstr>Helvetica</vt:lpstr>
      <vt:lpstr>Ink Free</vt:lpstr>
      <vt:lpstr>Inter</vt:lpstr>
      <vt:lpstr>Segoe UI</vt:lpstr>
      <vt:lpstr>Wingdings</vt:lpstr>
      <vt:lpstr>Cover 01</vt:lpstr>
      <vt:lpstr>Inhalt </vt:lpstr>
      <vt:lpstr>1_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94</cp:revision>
  <dcterms:created xsi:type="dcterms:W3CDTF">2024-05-08T06:34:22Z</dcterms:created>
  <dcterms:modified xsi:type="dcterms:W3CDTF">2026-01-16T10:58:16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